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42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695" r:id="rId6"/>
    <p:sldMasterId id="2147483698" r:id="rId7"/>
    <p:sldMasterId id="2147484260" r:id="rId8"/>
    <p:sldMasterId id="2147483731" r:id="rId9"/>
    <p:sldMasterId id="2147485613" r:id="rId10"/>
  </p:sldMasterIdLst>
  <p:notesMasterIdLst>
    <p:notesMasterId r:id="rId29"/>
  </p:notesMasterIdLst>
  <p:handoutMasterIdLst>
    <p:handoutMasterId r:id="rId30"/>
  </p:handoutMasterIdLst>
  <p:sldIdLst>
    <p:sldId id="283" r:id="rId11"/>
    <p:sldId id="271" r:id="rId12"/>
    <p:sldId id="273" r:id="rId13"/>
    <p:sldId id="2147480377" r:id="rId14"/>
    <p:sldId id="276" r:id="rId15"/>
    <p:sldId id="281" r:id="rId16"/>
    <p:sldId id="272" r:id="rId17"/>
    <p:sldId id="277" r:id="rId18"/>
    <p:sldId id="266" r:id="rId19"/>
    <p:sldId id="265" r:id="rId20"/>
    <p:sldId id="2147480320" r:id="rId21"/>
    <p:sldId id="289" r:id="rId22"/>
    <p:sldId id="2145704171" r:id="rId23"/>
    <p:sldId id="274" r:id="rId24"/>
    <p:sldId id="261" r:id="rId25"/>
    <p:sldId id="280" r:id="rId26"/>
    <p:sldId id="275" r:id="rId27"/>
    <p:sldId id="2147470314" r:id="rId28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190EF0"/>
    <a:srgbClr val="404176"/>
    <a:srgbClr val="EAEAEA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B652E9-8495-2F4E-8B37-993EE5240523}" v="7" dt="2026-06-05T07:23:34.0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0548"/>
  </p:normalViewPr>
  <p:slideViewPr>
    <p:cSldViewPr snapToGrid="0">
      <p:cViewPr varScale="1">
        <p:scale>
          <a:sx n="153" d="100"/>
          <a:sy n="153" d="100"/>
        </p:scale>
        <p:origin x="984" y="1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microsoft.com/office/2015/10/relationships/revisionInfo" Target="revisionInfo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INGI Florian" userId="4da913e2-5a88-401e-9879-6376a3fd7e17" providerId="ADAL" clId="{4CC72DF2-0A43-5369-BEC9-7C3CFBA471F1}"/>
    <pc:docChg chg="undo custSel addSld delSld modSld sldOrd delMainMaster">
      <pc:chgData name="CARINGI Florian" userId="4da913e2-5a88-401e-9879-6376a3fd7e17" providerId="ADAL" clId="{4CC72DF2-0A43-5369-BEC9-7C3CFBA471F1}" dt="2026-06-05T07:23:51.166" v="49" actId="1076"/>
      <pc:docMkLst>
        <pc:docMk/>
      </pc:docMkLst>
      <pc:sldChg chg="modSp mod">
        <pc:chgData name="CARINGI Florian" userId="4da913e2-5a88-401e-9879-6376a3fd7e17" providerId="ADAL" clId="{4CC72DF2-0A43-5369-BEC9-7C3CFBA471F1}" dt="2026-05-29T14:02:52.190" v="28" actId="26606"/>
        <pc:sldMkLst>
          <pc:docMk/>
          <pc:sldMk cId="4138954266" sldId="266"/>
        </pc:sldMkLst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3" creationId="{C05FA6FE-AE54-3DB2-B119-9CBB25B93ADB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5" creationId="{875205FD-CFDC-6120-CF96-6A3FE09B80AC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86" creationId="{2D2945D6-64ED-6E72-04C9-61654DB6EB1E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170" creationId="{50BC27CB-A598-CF0E-0F16-59A4B776623B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254" creationId="{03C01FEF-54E5-4634-6972-065E623D8BDA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264" creationId="{4ED1F57F-44CC-6E48-6494-E03F6458E642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395" creationId="{B7EF49FD-0BA0-AFE4-7DB5-74440BBA990A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404" creationId="{704D7EAA-45DE-C489-F3AC-26A4347A13B0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423" creationId="{EF9C3089-34B3-50AF-3618-E648F4B23788}"/>
          </ac:spMkLst>
        </pc:spChg>
        <pc:spChg chg="mod">
          <ac:chgData name="CARINGI Florian" userId="4da913e2-5a88-401e-9879-6376a3fd7e17" providerId="ADAL" clId="{4CC72DF2-0A43-5369-BEC9-7C3CFBA471F1}" dt="2026-05-29T14:02:52.190" v="28" actId="26606"/>
          <ac:spMkLst>
            <pc:docMk/>
            <pc:sldMk cId="4138954266" sldId="266"/>
            <ac:spMk id="469" creationId="{76B6819F-4255-FDA4-762A-3045D8DDCEA7}"/>
          </ac:spMkLst>
        </pc:spChg>
      </pc:sldChg>
      <pc:sldChg chg="modSp mod ord">
        <pc:chgData name="CARINGI Florian" userId="4da913e2-5a88-401e-9879-6376a3fd7e17" providerId="ADAL" clId="{4CC72DF2-0A43-5369-BEC9-7C3CFBA471F1}" dt="2026-06-05T07:23:51.166" v="49" actId="1076"/>
        <pc:sldMkLst>
          <pc:docMk/>
          <pc:sldMk cId="4127623450" sldId="276"/>
        </pc:sldMkLst>
        <pc:spChg chg="mod">
          <ac:chgData name="CARINGI Florian" userId="4da913e2-5a88-401e-9879-6376a3fd7e17" providerId="ADAL" clId="{4CC72DF2-0A43-5369-BEC9-7C3CFBA471F1}" dt="2026-05-29T09:39:54.051" v="7" actId="27636"/>
          <ac:spMkLst>
            <pc:docMk/>
            <pc:sldMk cId="4127623450" sldId="276"/>
            <ac:spMk id="5" creationId="{E9F90CF2-D3C1-03D9-FFCE-43D12D0F7FAC}"/>
          </ac:spMkLst>
        </pc:spChg>
        <pc:spChg chg="mod">
          <ac:chgData name="CARINGI Florian" userId="4da913e2-5a88-401e-9879-6376a3fd7e17" providerId="ADAL" clId="{4CC72DF2-0A43-5369-BEC9-7C3CFBA471F1}" dt="2026-06-05T07:23:51.166" v="49" actId="1076"/>
          <ac:spMkLst>
            <pc:docMk/>
            <pc:sldMk cId="4127623450" sldId="276"/>
            <ac:spMk id="20" creationId="{CCE92A82-4800-0535-49CE-BADBBC05E93B}"/>
          </ac:spMkLst>
        </pc:spChg>
        <pc:spChg chg="mod">
          <ac:chgData name="CARINGI Florian" userId="4da913e2-5a88-401e-9879-6376a3fd7e17" providerId="ADAL" clId="{4CC72DF2-0A43-5369-BEC9-7C3CFBA471F1}" dt="2026-06-05T07:23:45.348" v="47" actId="1076"/>
          <ac:spMkLst>
            <pc:docMk/>
            <pc:sldMk cId="4127623450" sldId="276"/>
            <ac:spMk id="21" creationId="{3191E265-7D25-7ADA-7C83-AB0EECB7E120}"/>
          </ac:spMkLst>
        </pc:spChg>
      </pc:sldChg>
      <pc:sldChg chg="add del">
        <pc:chgData name="CARINGI Florian" userId="4da913e2-5a88-401e-9879-6376a3fd7e17" providerId="ADAL" clId="{4CC72DF2-0A43-5369-BEC9-7C3CFBA471F1}" dt="2026-06-02T08:23:04.843" v="38"/>
        <pc:sldMkLst>
          <pc:docMk/>
          <pc:sldMk cId="1491281832" sldId="277"/>
        </pc:sldMkLst>
      </pc:sldChg>
      <pc:sldChg chg="modSp mod">
        <pc:chgData name="CARINGI Florian" userId="4da913e2-5a88-401e-9879-6376a3fd7e17" providerId="ADAL" clId="{4CC72DF2-0A43-5369-BEC9-7C3CFBA471F1}" dt="2026-05-29T10:01:04.875" v="27" actId="403"/>
        <pc:sldMkLst>
          <pc:docMk/>
          <pc:sldMk cId="194245852" sldId="280"/>
        </pc:sldMkLst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2" creationId="{948C5298-DF02-1B0F-52D1-84CC8321233E}"/>
          </ac:spMkLst>
        </pc:spChg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3" creationId="{0E536BD2-18B0-5442-0C0C-E064C775BA05}"/>
          </ac:spMkLst>
        </pc:spChg>
        <pc:spChg chg="mod">
          <ac:chgData name="CARINGI Florian" userId="4da913e2-5a88-401e-9879-6376a3fd7e17" providerId="ADAL" clId="{4CC72DF2-0A43-5369-BEC9-7C3CFBA471F1}" dt="2026-05-29T10:00:45.450" v="22" actId="404"/>
          <ac:spMkLst>
            <pc:docMk/>
            <pc:sldMk cId="194245852" sldId="280"/>
            <ac:spMk id="5" creationId="{33142F4F-B0CB-4BD5-889E-F37A9BD9B5C4}"/>
          </ac:spMkLst>
        </pc:spChg>
        <pc:spChg chg="mod">
          <ac:chgData name="CARINGI Florian" userId="4da913e2-5a88-401e-9879-6376a3fd7e17" providerId="ADAL" clId="{4CC72DF2-0A43-5369-BEC9-7C3CFBA471F1}" dt="2026-05-29T10:00:41.182" v="21" actId="404"/>
          <ac:spMkLst>
            <pc:docMk/>
            <pc:sldMk cId="194245852" sldId="280"/>
            <ac:spMk id="6" creationId="{B5E59919-B9E6-EBC9-C03A-D1DF5BA7A8ED}"/>
          </ac:spMkLst>
        </pc:spChg>
        <pc:spChg chg="mod">
          <ac:chgData name="CARINGI Florian" userId="4da913e2-5a88-401e-9879-6376a3fd7e17" providerId="ADAL" clId="{4CC72DF2-0A43-5369-BEC9-7C3CFBA471F1}" dt="2026-05-29T10:00:57.749" v="25" actId="404"/>
          <ac:spMkLst>
            <pc:docMk/>
            <pc:sldMk cId="194245852" sldId="280"/>
            <ac:spMk id="7" creationId="{57D39E03-312A-E111-42BC-4EFB7D889412}"/>
          </ac:spMkLst>
        </pc:spChg>
        <pc:spChg chg="mod">
          <ac:chgData name="CARINGI Florian" userId="4da913e2-5a88-401e-9879-6376a3fd7e17" providerId="ADAL" clId="{4CC72DF2-0A43-5369-BEC9-7C3CFBA471F1}" dt="2026-05-29T10:01:00.691" v="26" actId="404"/>
          <ac:spMkLst>
            <pc:docMk/>
            <pc:sldMk cId="194245852" sldId="280"/>
            <ac:spMk id="8" creationId="{2BBC9A96-85C5-970C-F0C8-8FB4A71E8242}"/>
          </ac:spMkLst>
        </pc:spChg>
        <pc:spChg chg="mod">
          <ac:chgData name="CARINGI Florian" userId="4da913e2-5a88-401e-9879-6376a3fd7e17" providerId="ADAL" clId="{4CC72DF2-0A43-5369-BEC9-7C3CFBA471F1}" dt="2026-05-29T10:01:04.875" v="27" actId="403"/>
          <ac:spMkLst>
            <pc:docMk/>
            <pc:sldMk cId="194245852" sldId="280"/>
            <ac:spMk id="9" creationId="{EBDAB04E-4557-E855-959C-31143AA8E646}"/>
          </ac:spMkLst>
        </pc:spChg>
        <pc:spChg chg="mod">
          <ac:chgData name="CARINGI Florian" userId="4da913e2-5a88-401e-9879-6376a3fd7e17" providerId="ADAL" clId="{4CC72DF2-0A43-5369-BEC9-7C3CFBA471F1}" dt="2026-05-29T10:00:38.376" v="20" actId="404"/>
          <ac:spMkLst>
            <pc:docMk/>
            <pc:sldMk cId="194245852" sldId="280"/>
            <ac:spMk id="10" creationId="{41A66467-0F4A-8F00-6219-0D57381798EE}"/>
          </ac:spMkLst>
        </pc:spChg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14" creationId="{56387FB0-92E3-37CF-2117-B44E34B520E8}"/>
          </ac:spMkLst>
        </pc:spChg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20" creationId="{9EA17164-39BB-D35B-875A-9E7852C221A9}"/>
          </ac:spMkLst>
        </pc:spChg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47" creationId="{D47E770E-1CFD-B490-037C-C49E4F18DB2A}"/>
          </ac:spMkLst>
        </pc:spChg>
        <pc:spChg chg="mod">
          <ac:chgData name="CARINGI Florian" userId="4da913e2-5a88-401e-9879-6376a3fd7e17" providerId="ADAL" clId="{4CC72DF2-0A43-5369-BEC9-7C3CFBA471F1}" dt="2026-05-29T09:47:33.956" v="19" actId="26606"/>
          <ac:spMkLst>
            <pc:docMk/>
            <pc:sldMk cId="194245852" sldId="280"/>
            <ac:spMk id="48" creationId="{127AE221-5CDA-AAC5-886F-86DB0FDAC5EB}"/>
          </ac:spMkLst>
        </pc:spChg>
        <pc:spChg chg="mod">
          <ac:chgData name="CARINGI Florian" userId="4da913e2-5a88-401e-9879-6376a3fd7e17" providerId="ADAL" clId="{4CC72DF2-0A43-5369-BEC9-7C3CFBA471F1}" dt="2026-05-29T10:00:49.654" v="23" actId="1076"/>
          <ac:spMkLst>
            <pc:docMk/>
            <pc:sldMk cId="194245852" sldId="280"/>
            <ac:spMk id="64" creationId="{B3DA5531-2A88-5A1B-0A1E-33723060208F}"/>
          </ac:spMkLst>
        </pc:spChg>
      </pc:sldChg>
      <pc:sldChg chg="modSp mod">
        <pc:chgData name="CARINGI Florian" userId="4da913e2-5a88-401e-9879-6376a3fd7e17" providerId="ADAL" clId="{4CC72DF2-0A43-5369-BEC9-7C3CFBA471F1}" dt="2026-05-29T09:39:54.055" v="8" actId="27636"/>
        <pc:sldMkLst>
          <pc:docMk/>
          <pc:sldMk cId="1966972337" sldId="281"/>
        </pc:sldMkLst>
        <pc:spChg chg="mod">
          <ac:chgData name="CARINGI Florian" userId="4da913e2-5a88-401e-9879-6376a3fd7e17" providerId="ADAL" clId="{4CC72DF2-0A43-5369-BEC9-7C3CFBA471F1}" dt="2026-05-29T09:39:54.055" v="8" actId="27636"/>
          <ac:spMkLst>
            <pc:docMk/>
            <pc:sldMk cId="1966972337" sldId="281"/>
            <ac:spMk id="8" creationId="{76854FFB-3C28-DBCF-3910-95D3CB2B3758}"/>
          </ac:spMkLst>
        </pc:spChg>
      </pc:sldChg>
      <pc:sldChg chg="add">
        <pc:chgData name="CARINGI Florian" userId="4da913e2-5a88-401e-9879-6376a3fd7e17" providerId="ADAL" clId="{4CC72DF2-0A43-5369-BEC9-7C3CFBA471F1}" dt="2026-05-29T09:40:02.017" v="9"/>
        <pc:sldMkLst>
          <pc:docMk/>
          <pc:sldMk cId="3456559582" sldId="289"/>
        </pc:sldMkLst>
      </pc:sldChg>
      <pc:sldChg chg="add">
        <pc:chgData name="CARINGI Florian" userId="4da913e2-5a88-401e-9879-6376a3fd7e17" providerId="ADAL" clId="{4CC72DF2-0A43-5369-BEC9-7C3CFBA471F1}" dt="2026-05-29T09:40:09.013" v="10"/>
        <pc:sldMkLst>
          <pc:docMk/>
          <pc:sldMk cId="3963152145" sldId="2145704171"/>
        </pc:sldMkLst>
      </pc:sldChg>
      <pc:sldChg chg="addSp delSp modSp mod">
        <pc:chgData name="CARINGI Florian" userId="4da913e2-5a88-401e-9879-6376a3fd7e17" providerId="ADAL" clId="{4CC72DF2-0A43-5369-BEC9-7C3CFBA471F1}" dt="2026-05-29T14:18:45.972" v="37" actId="478"/>
        <pc:sldMkLst>
          <pc:docMk/>
          <pc:sldMk cId="1008367174" sldId="2147470314"/>
        </pc:sldMkLst>
        <pc:spChg chg="add del mod">
          <ac:chgData name="CARINGI Florian" userId="4da913e2-5a88-401e-9879-6376a3fd7e17" providerId="ADAL" clId="{4CC72DF2-0A43-5369-BEC9-7C3CFBA471F1}" dt="2026-05-29T14:18:45.586" v="36" actId="478"/>
          <ac:spMkLst>
            <pc:docMk/>
            <pc:sldMk cId="1008367174" sldId="2147470314"/>
            <ac:spMk id="3" creationId="{EF6CF73C-F3F2-7626-85F8-E43389241436}"/>
          </ac:spMkLst>
        </pc:spChg>
        <pc:spChg chg="mod">
          <ac:chgData name="CARINGI Florian" userId="4da913e2-5a88-401e-9879-6376a3fd7e17" providerId="ADAL" clId="{4CC72DF2-0A43-5369-BEC9-7C3CFBA471F1}" dt="2026-05-29T14:18:45.317" v="35" actId="1076"/>
          <ac:spMkLst>
            <pc:docMk/>
            <pc:sldMk cId="1008367174" sldId="2147470314"/>
            <ac:spMk id="5" creationId="{AABC9024-5AD8-ABB9-13E0-00D1A0CA4C28}"/>
          </ac:spMkLst>
        </pc:spChg>
        <pc:spChg chg="mod">
          <ac:chgData name="CARINGI Florian" userId="4da913e2-5a88-401e-9879-6376a3fd7e17" providerId="ADAL" clId="{4CC72DF2-0A43-5369-BEC9-7C3CFBA471F1}" dt="2026-05-29T14:09:52.716" v="29" actId="26606"/>
          <ac:spMkLst>
            <pc:docMk/>
            <pc:sldMk cId="1008367174" sldId="2147470314"/>
            <ac:spMk id="9" creationId="{BD2F5CBB-B522-CCD3-F40E-37B7A2361679}"/>
          </ac:spMkLst>
        </pc:spChg>
        <pc:spChg chg="add del mod">
          <ac:chgData name="CARINGI Florian" userId="4da913e2-5a88-401e-9879-6376a3fd7e17" providerId="ADAL" clId="{4CC72DF2-0A43-5369-BEC9-7C3CFBA471F1}" dt="2026-05-29T14:18:45.972" v="37" actId="478"/>
          <ac:spMkLst>
            <pc:docMk/>
            <pc:sldMk cId="1008367174" sldId="2147470314"/>
            <ac:spMk id="28" creationId="{85E32E26-DF07-8367-FB9F-BB7E46623022}"/>
          </ac:spMkLst>
        </pc:spChg>
        <pc:spChg chg="mod">
          <ac:chgData name="CARINGI Florian" userId="4da913e2-5a88-401e-9879-6376a3fd7e17" providerId="ADAL" clId="{4CC72DF2-0A43-5369-BEC9-7C3CFBA471F1}" dt="2026-05-29T14:18:45.078" v="34" actId="1076"/>
          <ac:spMkLst>
            <pc:docMk/>
            <pc:sldMk cId="1008367174" sldId="2147470314"/>
            <ac:spMk id="32" creationId="{F08DFC4E-729C-54A5-56E4-8145AEF44B08}"/>
          </ac:spMkLst>
        </pc:spChg>
        <pc:spChg chg="mod">
          <ac:chgData name="CARINGI Florian" userId="4da913e2-5a88-401e-9879-6376a3fd7e17" providerId="ADAL" clId="{4CC72DF2-0A43-5369-BEC9-7C3CFBA471F1}" dt="2026-05-29T14:09:52.716" v="29" actId="26606"/>
          <ac:spMkLst>
            <pc:docMk/>
            <pc:sldMk cId="1008367174" sldId="2147470314"/>
            <ac:spMk id="38" creationId="{B534313D-7099-46C7-4C6C-6DDDA33B1985}"/>
          </ac:spMkLst>
        </pc:spChg>
      </pc:sldChg>
      <pc:sldChg chg="add">
        <pc:chgData name="CARINGI Florian" userId="4da913e2-5a88-401e-9879-6376a3fd7e17" providerId="ADAL" clId="{4CC72DF2-0A43-5369-BEC9-7C3CFBA471F1}" dt="2026-05-29T09:39:53.902" v="5"/>
        <pc:sldMkLst>
          <pc:docMk/>
          <pc:sldMk cId="766570426" sldId="2147480320"/>
        </pc:sldMkLst>
      </pc:sldChg>
      <pc:sldChg chg="add replId">
        <pc:chgData name="CARINGI Florian" userId="4da913e2-5a88-401e-9879-6376a3fd7e17" providerId="ADAL" clId="{4CC72DF2-0A43-5369-BEC9-7C3CFBA471F1}" dt="2026-05-29T09:47:33.947" v="18" actId="26606"/>
        <pc:sldMkLst>
          <pc:docMk/>
          <pc:sldMk cId="1903933014" sldId="214748037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C540677E-5284-8D50-BB1F-8914242DDD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A04783E-0BE8-44C6-2138-2A07631D99C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D8F07D-1C22-4A29-AAC4-D146142D5DED}" type="datetimeFigureOut">
              <a:rPr lang="fr-FR" smtClean="0"/>
              <a:t>03/06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8E68FE-D999-7838-9702-45487C21F7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74CCAB4-E304-8307-9545-3DA2735376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C773A9-EE11-4E18-ACF9-D4BB9C236C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571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65241-D127-440F-855F-01208AB78F04}" type="datetimeFigureOut">
              <a:rPr lang="fr-FR" smtClean="0"/>
              <a:t>03/06/202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EECCC2-9926-4B95-A141-5AC8E3D59A5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0373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4761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5000"/>
              </a:lnSpc>
              <a:spcAft>
                <a:spcPts val="600"/>
              </a:spcAft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EECCC2-9926-4B95-A141-5AC8E3D59A5C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703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9395F9-D181-F26A-820F-A6EBF6005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D85725-61A4-09AC-A457-6296F8E1D4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8DA54E-EDBB-EA22-9596-B156477290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01C40-79EF-16B1-40E8-CD50D27A41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/>
              <a:t>Notes </a:t>
            </a:r>
            <a:r>
              <a:rPr lang="fr-FR" err="1"/>
              <a:t>view</a:t>
            </a:r>
            <a:r>
              <a:rPr lang="fr-FR"/>
              <a:t>: </a:t>
            </a:r>
            <a:fld id="{128CEAFE-FA94-43E5-B0FF-D47E1CCDD1B4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9946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fr-FR"/>
              <a:t>Notes view: </a:t>
            </a:r>
            <a:fld id="{128CEAFE-FA94-43E5-B0FF-D47E1CCDD1B4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0583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3A9D-9467-1D5D-8EB1-D6B67DF56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B362649-C5B2-9A90-1AC7-B78C4A0BC8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B2D0E7F-7103-737A-F1D9-33C03CA7CE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1189462-3150-D6A2-4AE2-BA74BC989E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EECCC2-9926-4B95-A141-5AC8E3D59A5C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684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EC59C-2B6B-CE38-7A51-589D396EF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AF076EF-2072-F55D-7F75-81A9463C9E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6418FB3-C264-4C33-6BF7-D3461373D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821ED2F-43D1-8720-878F-4C0F24AA28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EECCC2-9926-4B95-A141-5AC8E3D59A5C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0864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endParaRPr lang="fr-FR" sz="11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4BB09-782D-460D-892C-1B10CC9F4FDF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344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sv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28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slideMaster" Target="../slideMasters/slideMaster3.xml"/><Relationship Id="rId5" Type="http://schemas.openxmlformats.org/officeDocument/2006/relationships/hyperlink" Target="http://www.groupebpce.fr/" TargetMode="External"/><Relationship Id="rId4" Type="http://schemas.openxmlformats.org/officeDocument/2006/relationships/image" Target="../media/image2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sv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http://www.groupebpce.fr/" TargetMode="External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roupebpce.fr/" TargetMode="Externa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jpe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4"/>
          <p:cNvSpPr/>
          <p:nvPr userDrawn="1"/>
        </p:nvSpPr>
        <p:spPr>
          <a:xfrm>
            <a:off x="3551364" y="3195083"/>
            <a:ext cx="2224874" cy="88320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1440000"/>
            <a:ext cx="9144000" cy="958500"/>
          </a:xfrm>
        </p:spPr>
        <p:txBody>
          <a:bodyPr anchor="t" anchorCtr="0"/>
          <a:lstStyle>
            <a:lvl1pPr algn="ctr">
              <a:lnSpc>
                <a:spcPct val="95000"/>
              </a:lnSpc>
              <a:defRPr sz="2800" b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30071" y="2794973"/>
            <a:ext cx="3083858" cy="400110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1300" b="0">
                <a:solidFill>
                  <a:schemeClr val="bg2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90000" y="288954"/>
            <a:ext cx="1764000" cy="45491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42800" y="4730683"/>
            <a:ext cx="1058400" cy="151948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58" y="4737567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</p:spTree>
    <p:extLst>
      <p:ext uri="{BB962C8B-B14F-4D97-AF65-F5344CB8AC3E}">
        <p14:creationId xmlns:p14="http://schemas.microsoft.com/office/powerpoint/2010/main" val="1946881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305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1079501" y="974702"/>
            <a:ext cx="7262599" cy="53137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4921599" y="1872000"/>
            <a:ext cx="3420500" cy="243505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1872000"/>
            <a:ext cx="3420500" cy="243505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13751937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2">
            <a:extLst>
              <a:ext uri="{FF2B5EF4-FFF2-40B4-BE49-F238E27FC236}">
                <a16:creationId xmlns:a16="http://schemas.microsoft.com/office/drawing/2014/main" id="{857AB56C-5097-0E88-FDB3-1B81CDC6B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62" y="85951"/>
            <a:ext cx="8610693" cy="37599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AA28147E-FD29-BDA0-5CD6-5792D58808C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513408" y="466346"/>
            <a:ext cx="2160000" cy="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347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4C429BC-C5C6-CF90-174E-07D59524F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0156FA6-6C34-55D1-32C3-63F917F8DA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348DC3E-FE63-8084-B6AA-337588297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63D6B-952C-475E-86FC-D6A9FEC3DC64}" type="datetimeFigureOut">
              <a:rPr lang="fr-FR" smtClean="0"/>
              <a:t>03/06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E69D22-3017-F95E-6771-CC850A0E0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67067C7-C852-E609-5881-E9744695A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56E95-F72B-4518-81A9-3951B93B2B5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39261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AABD2F-CE12-6AFB-0B02-BBB9A1A2FE6F}"/>
              </a:ext>
            </a:extLst>
          </p:cNvPr>
          <p:cNvSpPr/>
          <p:nvPr userDrawn="1"/>
        </p:nvSpPr>
        <p:spPr>
          <a:xfrm>
            <a:off x="3054194" y="227538"/>
            <a:ext cx="5838285" cy="44627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60253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400">
              <a:solidFill>
                <a:sysClr val="windowText" lastClr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" y="51470"/>
            <a:ext cx="1638861" cy="1275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sp>
        <p:nvSpPr>
          <p:cNvPr id="27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995937" y="43737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995937" y="1137884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3995937" y="183838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3995937" y="2538894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995937" y="323939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3995937" y="393990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52"/>
          <p:cNvSpPr>
            <a:spLocks noGrp="1"/>
          </p:cNvSpPr>
          <p:nvPr>
            <p:ph type="body" sz="quarter" idx="10" hasCustomPrompt="1"/>
          </p:nvPr>
        </p:nvSpPr>
        <p:spPr>
          <a:xfrm>
            <a:off x="3300737" y="45325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1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300737" y="1153764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tx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2</a:t>
            </a:r>
            <a:endParaRPr lang="fr-FR"/>
          </a:p>
        </p:txBody>
      </p:sp>
      <p:sp>
        <p:nvSpPr>
          <p:cNvPr id="30" name="Espace réservé du texte 52"/>
          <p:cNvSpPr>
            <a:spLocks noGrp="1"/>
          </p:cNvSpPr>
          <p:nvPr>
            <p:ph type="body" sz="quarter" idx="14" hasCustomPrompt="1"/>
          </p:nvPr>
        </p:nvSpPr>
        <p:spPr>
          <a:xfrm>
            <a:off x="3300737" y="185426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3</a:t>
            </a:r>
            <a:endParaRPr lang="fr-FR"/>
          </a:p>
        </p:txBody>
      </p:sp>
      <p:sp>
        <p:nvSpPr>
          <p:cNvPr id="32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3300737" y="255477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3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4</a:t>
            </a:r>
            <a:endParaRPr lang="fr-FR"/>
          </a:p>
        </p:txBody>
      </p:sp>
      <p:sp>
        <p:nvSpPr>
          <p:cNvPr id="34" name="Espace réservé du texte 52"/>
          <p:cNvSpPr>
            <a:spLocks noGrp="1"/>
          </p:cNvSpPr>
          <p:nvPr>
            <p:ph type="body" sz="quarter" idx="18" hasCustomPrompt="1"/>
          </p:nvPr>
        </p:nvSpPr>
        <p:spPr>
          <a:xfrm>
            <a:off x="3300737" y="325527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4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5</a:t>
            </a:r>
            <a:endParaRPr lang="fr-FR"/>
          </a:p>
        </p:txBody>
      </p:sp>
      <p:sp>
        <p:nvSpPr>
          <p:cNvPr id="36" name="Espace réservé du texte 52"/>
          <p:cNvSpPr>
            <a:spLocks noGrp="1"/>
          </p:cNvSpPr>
          <p:nvPr>
            <p:ph type="body" sz="quarter" idx="20" hasCustomPrompt="1"/>
          </p:nvPr>
        </p:nvSpPr>
        <p:spPr>
          <a:xfrm>
            <a:off x="3300737" y="3955782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6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49BDC863-4516-8AC2-5699-E414819FB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7" y="2169876"/>
            <a:ext cx="2308999" cy="4320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4CF1581-1F17-B986-7A78-6770EF8AD61C}"/>
              </a:ext>
            </a:extLst>
          </p:cNvPr>
          <p:cNvCxnSpPr>
            <a:cxnSpLocks/>
          </p:cNvCxnSpPr>
          <p:nvPr userDrawn="1"/>
        </p:nvCxnSpPr>
        <p:spPr>
          <a:xfrm>
            <a:off x="1365623" y="264375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47976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CE697AFD-D2E9-20EA-9B8C-9BCA17CCB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9513" y="4723319"/>
            <a:ext cx="5132387" cy="142875"/>
          </a:xfrm>
        </p:spPr>
        <p:txBody>
          <a:bodyPr lIns="0" rIns="0" anchor="b">
            <a:noAutofit/>
          </a:bodyPr>
          <a:lstStyle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Source</a:t>
            </a:r>
            <a:endParaRPr lang="en-US"/>
          </a:p>
        </p:txBody>
      </p:sp>
      <p:sp>
        <p:nvSpPr>
          <p:cNvPr id="13" name="Espace réservé du contenu 5">
            <a:extLst>
              <a:ext uri="{FF2B5EF4-FFF2-40B4-BE49-F238E27FC236}">
                <a16:creationId xmlns:a16="http://schemas.microsoft.com/office/drawing/2014/main" id="{21E3083A-C0CD-18DF-52BF-CDA47014A89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2495403" y="1292003"/>
            <a:ext cx="6151610" cy="13466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22DEB11-BE47-2239-B0E3-C2F90439447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44" y="933422"/>
            <a:ext cx="1705182" cy="1705182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CF9A7E5-FFC1-9FC4-CDD0-BFAB93243B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490013" y="3281225"/>
            <a:ext cx="5157000" cy="13466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7" name="Espace réservé pour une image  18">
            <a:extLst>
              <a:ext uri="{FF2B5EF4-FFF2-40B4-BE49-F238E27FC236}">
                <a16:creationId xmlns:a16="http://schemas.microsoft.com/office/drawing/2014/main" id="{598A85F3-02C3-692C-FBD1-F8DE7D21E90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462154" y="2922643"/>
            <a:ext cx="1705182" cy="1705182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50695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11"/>
          <p:cNvSpPr>
            <a:spLocks noGrp="1"/>
          </p:cNvSpPr>
          <p:nvPr>
            <p:ph sz="quarter" idx="14"/>
          </p:nvPr>
        </p:nvSpPr>
        <p:spPr>
          <a:xfrm>
            <a:off x="538996" y="1131589"/>
            <a:ext cx="4104000" cy="360040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4824488" y="1131589"/>
            <a:ext cx="4140000" cy="360040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539552" y="195486"/>
            <a:ext cx="8424936" cy="432000"/>
          </a:xfrm>
        </p:spPr>
        <p:txBody>
          <a:bodyPr/>
          <a:lstStyle>
            <a:lvl1pPr>
              <a:defRPr sz="2800">
                <a:latin typeface="Arial Black" panose="020B0A040201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2" y="612000"/>
            <a:ext cx="8424936" cy="28803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960007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323528" y="1927841"/>
            <a:ext cx="2526014" cy="26824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CE697AFD-D2E9-20EA-9B8C-9BCA17CCB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9512" y="4723319"/>
            <a:ext cx="5132387" cy="142875"/>
          </a:xfrm>
        </p:spPr>
        <p:txBody>
          <a:bodyPr lIns="0" rIns="0" anchor="b">
            <a:noAutofit/>
          </a:bodyPr>
          <a:lstStyle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Source</a:t>
            </a:r>
            <a:endParaRPr lang="en-US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C2B0550-7510-22D8-1D3D-F2E26AA3F6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276028" y="1093013"/>
            <a:ext cx="5406162" cy="6919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/>
            </a:lvl1pPr>
            <a:lvl2pPr>
              <a:defRPr sz="1400" b="1"/>
            </a:lvl2pPr>
            <a:lvl3pPr>
              <a:defRPr sz="1200" b="1"/>
            </a:lvl3pPr>
            <a:lvl4pPr>
              <a:defRPr sz="11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contenu 5">
            <a:extLst>
              <a:ext uri="{FF2B5EF4-FFF2-40B4-BE49-F238E27FC236}">
                <a16:creationId xmlns:a16="http://schemas.microsoft.com/office/drawing/2014/main" id="{21E3083A-C0CD-18DF-52BF-CDA47014A89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276028" y="2571750"/>
            <a:ext cx="2526014" cy="20385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7CB20093-73BE-E30B-D7F1-E3AB781FB5CD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52871" y="2571750"/>
            <a:ext cx="2526014" cy="20385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787676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ED87830-DA3B-4083-59AF-980E4DAC43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D87830-DA3B-4083-59AF-980E4DAC4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115177" y="2941873"/>
            <a:ext cx="3850481" cy="727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450"/>
              </a:spcAft>
            </a:pPr>
            <a:r>
              <a:rPr lang="fr-FR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186495"/>
            <a:ext cx="8199900" cy="345268"/>
          </a:xfrm>
        </p:spPr>
        <p:txBody>
          <a:bodyPr vert="horz">
            <a:noAutofit/>
          </a:bodyPr>
          <a:lstStyle>
            <a:lvl1pPr algn="l" rtl="0">
              <a:defRPr sz="2100" b="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fr-FR"/>
              <a:t>Click to add title</a:t>
            </a:r>
          </a:p>
        </p:txBody>
      </p:sp>
      <p:cxnSp>
        <p:nvCxnSpPr>
          <p:cNvPr id="14" name="Connecteur droit 8">
            <a:extLst>
              <a:ext uri="{FF2B5EF4-FFF2-40B4-BE49-F238E27FC236}">
                <a16:creationId xmlns:a16="http://schemas.microsoft.com/office/drawing/2014/main" id="{5F146DD1-0DAE-CB5A-C554-C6A3320D5DA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pyright" hidden="1">
            <a:extLst>
              <a:ext uri="{FF2B5EF4-FFF2-40B4-BE49-F238E27FC236}">
                <a16:creationId xmlns:a16="http://schemas.microsoft.com/office/drawing/2014/main" id="{0A7D52AE-3751-CEB7-41BD-6B23443FFC88}"/>
              </a:ext>
            </a:extLst>
          </p:cNvPr>
          <p:cNvSpPr txBox="1"/>
          <p:nvPr userDrawn="1"/>
        </p:nvSpPr>
        <p:spPr>
          <a:xfrm rot="16200000">
            <a:off x="7048501" y="2841429"/>
            <a:ext cx="3850481" cy="831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450"/>
              </a:spcAft>
            </a:pPr>
            <a:r>
              <a:rPr lang="fr-FR" sz="600" i="1">
                <a:solidFill>
                  <a:srgbClr val="B4B4B4"/>
                </a:solidFill>
                <a:latin typeface="+mn-lt"/>
                <a:sym typeface="Trebuchet MS" panose="020B0603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483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 39"/>
          <p:cNvPicPr>
            <a:picLocks noChangeAspect="1"/>
          </p:cNvPicPr>
          <p:nvPr userDrawn="1"/>
        </p:nvPicPr>
        <p:blipFill rotWithShape="1">
          <a:blip r:embed="rId2"/>
          <a:srcRect r="16360" b="16635"/>
          <a:stretch/>
        </p:blipFill>
        <p:spPr>
          <a:xfrm>
            <a:off x="4498128" y="1877775"/>
            <a:ext cx="4645872" cy="32657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  <p:sp>
        <p:nvSpPr>
          <p:cNvPr id="10" name="Shape 10"/>
          <p:cNvSpPr txBox="1">
            <a:spLocks noGrp="1"/>
          </p:cNvSpPr>
          <p:nvPr userDrawn="1">
            <p:ph type="ctrTitle"/>
          </p:nvPr>
        </p:nvSpPr>
        <p:spPr>
          <a:xfrm>
            <a:off x="1221112" y="1779662"/>
            <a:ext cx="7527352" cy="11597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0" cap="none" baseline="0">
                <a:solidFill>
                  <a:schemeClr val="tx1"/>
                </a:solidFill>
                <a:effectLst/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21112" y="2979616"/>
            <a:ext cx="7527352" cy="3323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 b="1" cap="none" baseline="0">
                <a:solidFill>
                  <a:schemeClr val="tx1"/>
                </a:solidFill>
                <a:effectLst/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88234" y="4670222"/>
            <a:ext cx="1109278" cy="138499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l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sp>
        <p:nvSpPr>
          <p:cNvPr id="16" name="Ellipse 15"/>
          <p:cNvSpPr/>
          <p:nvPr userDrawn="1"/>
        </p:nvSpPr>
        <p:spPr>
          <a:xfrm>
            <a:off x="345323" y="4703468"/>
            <a:ext cx="72008" cy="72008"/>
          </a:xfrm>
          <a:prstGeom prst="ellipse">
            <a:avLst/>
          </a:prstGeom>
          <a:solidFill>
            <a:srgbClr val="B243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6" name="Imag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60" y="4595587"/>
            <a:ext cx="1725231" cy="287769"/>
          </a:xfrm>
          <a:prstGeom prst="rect">
            <a:avLst/>
          </a:prstGeom>
        </p:spPr>
      </p:pic>
      <p:sp>
        <p:nvSpPr>
          <p:cNvPr id="19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6948264" y="512424"/>
            <a:ext cx="2016224" cy="324036"/>
          </a:xfrm>
          <a:prstGeom prst="roundRect">
            <a:avLst>
              <a:gd name="adj" fmla="val 50000"/>
            </a:avLst>
          </a:prstGeom>
          <a:solidFill>
            <a:srgbClr val="00A193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Nom de la direction</a:t>
            </a:r>
          </a:p>
        </p:txBody>
      </p: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4000" y="360000"/>
            <a:ext cx="3744000" cy="77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4334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 37"/>
          <p:cNvPicPr>
            <a:picLocks noChangeAspect="1"/>
          </p:cNvPicPr>
          <p:nvPr userDrawn="1"/>
        </p:nvPicPr>
        <p:blipFill rotWithShape="1">
          <a:blip r:embed="rId2"/>
          <a:srcRect l="25979" t="58092"/>
          <a:stretch/>
        </p:blipFill>
        <p:spPr>
          <a:xfrm>
            <a:off x="0" y="0"/>
            <a:ext cx="4520342" cy="1810442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610164"/>
            <a:ext cx="1725231" cy="287769"/>
          </a:xfrm>
          <a:prstGeom prst="rect">
            <a:avLst/>
          </a:prstGeom>
        </p:spPr>
      </p:pic>
      <p:sp>
        <p:nvSpPr>
          <p:cNvPr id="59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940499" y="3720191"/>
            <a:ext cx="1109278" cy="138499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l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sp>
        <p:nvSpPr>
          <p:cNvPr id="26" name="Shape 10"/>
          <p:cNvSpPr txBox="1">
            <a:spLocks noGrp="1"/>
          </p:cNvSpPr>
          <p:nvPr>
            <p:ph type="ctrTitle"/>
          </p:nvPr>
        </p:nvSpPr>
        <p:spPr>
          <a:xfrm>
            <a:off x="940499" y="2053650"/>
            <a:ext cx="7527352" cy="11597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0" cap="none" baseline="0">
                <a:solidFill>
                  <a:schemeClr val="tx1"/>
                </a:solidFill>
                <a:effectLst/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" name="Espace réservé du texte 52"/>
          <p:cNvSpPr>
            <a:spLocks noGrp="1"/>
          </p:cNvSpPr>
          <p:nvPr>
            <p:ph type="body" sz="quarter" idx="11" hasCustomPrompt="1"/>
          </p:nvPr>
        </p:nvSpPr>
        <p:spPr>
          <a:xfrm>
            <a:off x="940499" y="3147814"/>
            <a:ext cx="7527352" cy="3323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 b="1" cap="none" baseline="0">
                <a:solidFill>
                  <a:schemeClr val="tx1"/>
                </a:solidFill>
                <a:effectLst/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</a:t>
            </a:r>
            <a:endParaRPr lang="fr-FR"/>
          </a:p>
        </p:txBody>
      </p:sp>
      <p:sp>
        <p:nvSpPr>
          <p:cNvPr id="15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6948264" y="512424"/>
            <a:ext cx="2016224" cy="324036"/>
          </a:xfrm>
          <a:prstGeom prst="roundRect">
            <a:avLst>
              <a:gd name="adj" fmla="val 50000"/>
            </a:avLst>
          </a:prstGeom>
          <a:solidFill>
            <a:srgbClr val="00A193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Nom de la direction</a:t>
            </a:r>
          </a:p>
        </p:txBody>
      </p: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60000" y="4320000"/>
            <a:ext cx="3312000" cy="68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5013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51470"/>
            <a:ext cx="1638861" cy="1275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e 24"/>
          <p:cNvGrpSpPr/>
          <p:nvPr userDrawn="1"/>
        </p:nvGrpSpPr>
        <p:grpSpPr>
          <a:xfrm>
            <a:off x="0" y="0"/>
            <a:ext cx="4484971" cy="1810443"/>
            <a:chOff x="0" y="0"/>
            <a:chExt cx="4484971" cy="1810443"/>
          </a:xfrm>
        </p:grpSpPr>
        <p:sp>
          <p:nvSpPr>
            <p:cNvPr id="38" name="Freeform 19"/>
            <p:cNvSpPr>
              <a:spLocks/>
            </p:cNvSpPr>
            <p:nvPr userDrawn="1"/>
          </p:nvSpPr>
          <p:spPr bwMode="auto">
            <a:xfrm>
              <a:off x="1602349" y="60108"/>
              <a:ext cx="925218" cy="821577"/>
            </a:xfrm>
            <a:custGeom>
              <a:avLst/>
              <a:gdLst>
                <a:gd name="T0" fmla="*/ 10 w 43"/>
                <a:gd name="T1" fmla="*/ 11 h 37"/>
                <a:gd name="T2" fmla="*/ 10 w 43"/>
                <a:gd name="T3" fmla="*/ 11 h 37"/>
                <a:gd name="T4" fmla="*/ 0 w 43"/>
                <a:gd name="T5" fmla="*/ 25 h 37"/>
                <a:gd name="T6" fmla="*/ 33 w 43"/>
                <a:gd name="T7" fmla="*/ 37 h 37"/>
                <a:gd name="T8" fmla="*/ 39 w 43"/>
                <a:gd name="T9" fmla="*/ 26 h 37"/>
                <a:gd name="T10" fmla="*/ 39 w 43"/>
                <a:gd name="T11" fmla="*/ 26 h 37"/>
                <a:gd name="T12" fmla="*/ 33 w 43"/>
                <a:gd name="T13" fmla="*/ 5 h 37"/>
                <a:gd name="T14" fmla="*/ 10 w 43"/>
                <a:gd name="T15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37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7" y="16"/>
                    <a:pt x="4" y="21"/>
                    <a:pt x="0" y="25"/>
                  </a:cubicBezTo>
                  <a:cubicBezTo>
                    <a:pt x="9" y="32"/>
                    <a:pt x="20" y="36"/>
                    <a:pt x="33" y="37"/>
                  </a:cubicBezTo>
                  <a:cubicBezTo>
                    <a:pt x="35" y="33"/>
                    <a:pt x="37" y="30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3" y="18"/>
                    <a:pt x="40" y="9"/>
                    <a:pt x="33" y="5"/>
                  </a:cubicBezTo>
                  <a:cubicBezTo>
                    <a:pt x="25" y="0"/>
                    <a:pt x="15" y="3"/>
                    <a:pt x="10" y="1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orme libre 38"/>
            <p:cNvSpPr>
              <a:spLocks/>
            </p:cNvSpPr>
            <p:nvPr userDrawn="1"/>
          </p:nvSpPr>
          <p:spPr bwMode="auto">
            <a:xfrm>
              <a:off x="214337" y="0"/>
              <a:ext cx="4270634" cy="1810442"/>
            </a:xfrm>
            <a:custGeom>
              <a:avLst/>
              <a:gdLst>
                <a:gd name="connsiteX0" fmla="*/ 0 w 4270634"/>
                <a:gd name="connsiteY0" fmla="*/ 0 h 1810442"/>
                <a:gd name="connsiteX1" fmla="*/ 756829 w 4270634"/>
                <a:gd name="connsiteY1" fmla="*/ 0 h 1810442"/>
                <a:gd name="connsiteX2" fmla="*/ 770052 w 4270634"/>
                <a:gd name="connsiteY2" fmla="*/ 52577 h 1810442"/>
                <a:gd name="connsiteX3" fmla="*/ 2146209 w 4270634"/>
                <a:gd name="connsiteY3" fmla="*/ 1081139 h 1810442"/>
                <a:gd name="connsiteX4" fmla="*/ 3500694 w 4270634"/>
                <a:gd name="connsiteY4" fmla="*/ 52577 h 1810442"/>
                <a:gd name="connsiteX5" fmla="*/ 3513879 w 4270634"/>
                <a:gd name="connsiteY5" fmla="*/ 0 h 1810442"/>
                <a:gd name="connsiteX6" fmla="*/ 4270634 w 4270634"/>
                <a:gd name="connsiteY6" fmla="*/ 0 h 1810442"/>
                <a:gd name="connsiteX7" fmla="*/ 4261521 w 4270634"/>
                <a:gd name="connsiteY7" fmla="*/ 59181 h 1810442"/>
                <a:gd name="connsiteX8" fmla="*/ 2146209 w 4270634"/>
                <a:gd name="connsiteY8" fmla="*/ 1810442 h 1810442"/>
                <a:gd name="connsiteX9" fmla="*/ 9124 w 4270634"/>
                <a:gd name="connsiteY9" fmla="*/ 59181 h 181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70634" h="1810442">
                  <a:moveTo>
                    <a:pt x="0" y="0"/>
                  </a:moveTo>
                  <a:lnTo>
                    <a:pt x="756829" y="0"/>
                  </a:lnTo>
                  <a:lnTo>
                    <a:pt x="770052" y="52577"/>
                  </a:lnTo>
                  <a:cubicBezTo>
                    <a:pt x="949731" y="643453"/>
                    <a:pt x="1490362" y="1081139"/>
                    <a:pt x="2146209" y="1081139"/>
                  </a:cubicBezTo>
                  <a:cubicBezTo>
                    <a:pt x="2784331" y="1081139"/>
                    <a:pt x="3321638" y="643453"/>
                    <a:pt x="3500694" y="52577"/>
                  </a:cubicBezTo>
                  <a:lnTo>
                    <a:pt x="3513879" y="0"/>
                  </a:lnTo>
                  <a:lnTo>
                    <a:pt x="4270634" y="0"/>
                  </a:lnTo>
                  <a:lnTo>
                    <a:pt x="4261521" y="59181"/>
                  </a:lnTo>
                  <a:cubicBezTo>
                    <a:pt x="4057506" y="1049024"/>
                    <a:pt x="3177021" y="1810442"/>
                    <a:pt x="2146209" y="1810442"/>
                  </a:cubicBezTo>
                  <a:cubicBezTo>
                    <a:pt x="1096308" y="1810442"/>
                    <a:pt x="213437" y="1049024"/>
                    <a:pt x="9124" y="5918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40" name="Forme libre 39"/>
            <p:cNvSpPr>
              <a:spLocks/>
            </p:cNvSpPr>
            <p:nvPr userDrawn="1"/>
          </p:nvSpPr>
          <p:spPr bwMode="auto">
            <a:xfrm>
              <a:off x="0" y="962234"/>
              <a:ext cx="1203597" cy="848209"/>
            </a:xfrm>
            <a:custGeom>
              <a:avLst/>
              <a:gdLst>
                <a:gd name="connsiteX0" fmla="*/ 0 w 1203597"/>
                <a:gd name="connsiteY0" fmla="*/ 0 h 848209"/>
                <a:gd name="connsiteX1" fmla="*/ 45384 w 1203597"/>
                <a:gd name="connsiteY1" fmla="*/ 22001 h 848209"/>
                <a:gd name="connsiteX2" fmla="*/ 486312 w 1203597"/>
                <a:gd name="connsiteY2" fmla="*/ 118906 h 848209"/>
                <a:gd name="connsiteX3" fmla="*/ 1203597 w 1203597"/>
                <a:gd name="connsiteY3" fmla="*/ 737709 h 848209"/>
                <a:gd name="connsiteX4" fmla="*/ 551520 w 1203597"/>
                <a:gd name="connsiteY4" fmla="*/ 848209 h 848209"/>
                <a:gd name="connsiteX5" fmla="*/ 168774 w 1203597"/>
                <a:gd name="connsiteY5" fmla="*/ 813559 h 848209"/>
                <a:gd name="connsiteX6" fmla="*/ 0 w 1203597"/>
                <a:gd name="connsiteY6" fmla="*/ 774730 h 84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3597" h="848209">
                  <a:moveTo>
                    <a:pt x="0" y="0"/>
                  </a:moveTo>
                  <a:lnTo>
                    <a:pt x="45384" y="22001"/>
                  </a:lnTo>
                  <a:cubicBezTo>
                    <a:pt x="183532" y="76330"/>
                    <a:pt x="331783" y="109928"/>
                    <a:pt x="486312" y="118906"/>
                  </a:cubicBezTo>
                  <a:cubicBezTo>
                    <a:pt x="681935" y="362007"/>
                    <a:pt x="921030" y="583008"/>
                    <a:pt x="1203597" y="737709"/>
                  </a:cubicBezTo>
                  <a:cubicBezTo>
                    <a:pt x="986238" y="804009"/>
                    <a:pt x="768879" y="848209"/>
                    <a:pt x="551520" y="848209"/>
                  </a:cubicBezTo>
                  <a:cubicBezTo>
                    <a:pt x="420765" y="848209"/>
                    <a:pt x="292870" y="836312"/>
                    <a:pt x="168774" y="813559"/>
                  </a:cubicBezTo>
                  <a:lnTo>
                    <a:pt x="0" y="77473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sp>
        <p:nvSpPr>
          <p:cNvPr id="27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1249770" y="616575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1249770" y="1317080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1249770" y="2017585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1249770" y="2718090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1249770" y="3418595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1249770" y="4119099"/>
            <a:ext cx="6346565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defRPr lang="fr-FR" sz="2000" b="0" i="0" u="none" strike="noStrike" cap="none" dirty="0" smtClean="0">
                <a:solidFill>
                  <a:srgbClr val="000000"/>
                </a:solidFill>
                <a:latin typeface="Arial Narrow" panose="020B0606020202030204" pitchFamily="34" charset="0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616504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2" y="131700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2</a:t>
            </a:r>
            <a:endParaRPr lang="fr-FR"/>
          </a:p>
        </p:txBody>
      </p:sp>
      <p:sp>
        <p:nvSpPr>
          <p:cNvPr id="30" name="Espace réservé du texte 52"/>
          <p:cNvSpPr>
            <a:spLocks noGrp="1"/>
          </p:cNvSpPr>
          <p:nvPr>
            <p:ph type="body" sz="quarter" idx="14" hasCustomPrompt="1"/>
          </p:nvPr>
        </p:nvSpPr>
        <p:spPr>
          <a:xfrm>
            <a:off x="539552" y="2017514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3</a:t>
            </a:r>
            <a:endParaRPr lang="fr-FR"/>
          </a:p>
        </p:txBody>
      </p:sp>
      <p:sp>
        <p:nvSpPr>
          <p:cNvPr id="32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539552" y="271801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4</a:t>
            </a:r>
            <a:endParaRPr lang="fr-FR"/>
          </a:p>
        </p:txBody>
      </p:sp>
      <p:sp>
        <p:nvSpPr>
          <p:cNvPr id="34" name="Espace réservé du texte 52"/>
          <p:cNvSpPr>
            <a:spLocks noGrp="1"/>
          </p:cNvSpPr>
          <p:nvPr>
            <p:ph type="body" sz="quarter" idx="18" hasCustomPrompt="1"/>
          </p:nvPr>
        </p:nvSpPr>
        <p:spPr>
          <a:xfrm>
            <a:off x="539552" y="3418524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5</a:t>
            </a:r>
            <a:endParaRPr lang="fr-FR"/>
          </a:p>
        </p:txBody>
      </p:sp>
      <p:sp>
        <p:nvSpPr>
          <p:cNvPr id="36" name="Espace réservé du texte 52"/>
          <p:cNvSpPr>
            <a:spLocks noGrp="1"/>
          </p:cNvSpPr>
          <p:nvPr>
            <p:ph type="body" sz="quarter" idx="20" hasCustomPrompt="1"/>
          </p:nvPr>
        </p:nvSpPr>
        <p:spPr>
          <a:xfrm>
            <a:off x="539552" y="411902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67004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gue + Conten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672004" y="975600"/>
            <a:ext cx="5188043" cy="25968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1080001" y="1025138"/>
            <a:ext cx="2268820" cy="1764378"/>
          </a:xfrm>
          <a:solidFill>
            <a:schemeClr val="accent1"/>
          </a:solidFill>
        </p:spPr>
        <p:txBody>
          <a:bodyPr lIns="180000" tIns="108000" rIns="180000" bIns="108000" anchor="ctr" anchorCtr="0">
            <a:noAutofit/>
          </a:bodyPr>
          <a:lstStyle>
            <a:lvl1pPr>
              <a:spcBef>
                <a:spcPts val="900"/>
              </a:spcBef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100" b="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5" y="2884884"/>
            <a:ext cx="2269321" cy="1146995"/>
          </a:xfrm>
          <a:solidFill>
            <a:srgbClr val="EAEAEA"/>
          </a:solidFill>
        </p:spPr>
        <p:txBody>
          <a:bodyPr lIns="180000" tIns="108000" rIns="180000" bIns="108000" anchor="ctr" anchorCtr="0"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32854878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 userDrawn="1"/>
        </p:nvGrpSpPr>
        <p:grpSpPr>
          <a:xfrm>
            <a:off x="0" y="-1"/>
            <a:ext cx="4484971" cy="1810444"/>
            <a:chOff x="0" y="-1"/>
            <a:chExt cx="4484971" cy="1810444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-1"/>
              <a:ext cx="1638861" cy="1275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5" name="Groupe 4"/>
            <p:cNvGrpSpPr/>
            <p:nvPr userDrawn="1"/>
          </p:nvGrpSpPr>
          <p:grpSpPr>
            <a:xfrm>
              <a:off x="0" y="0"/>
              <a:ext cx="4484971" cy="1810443"/>
              <a:chOff x="0" y="0"/>
              <a:chExt cx="4484971" cy="1810443"/>
            </a:xfrm>
          </p:grpSpPr>
          <p:sp>
            <p:nvSpPr>
              <p:cNvPr id="28" name="Freeform 19"/>
              <p:cNvSpPr>
                <a:spLocks/>
              </p:cNvSpPr>
              <p:nvPr userDrawn="1"/>
            </p:nvSpPr>
            <p:spPr bwMode="auto">
              <a:xfrm>
                <a:off x="1602349" y="60108"/>
                <a:ext cx="925218" cy="821577"/>
              </a:xfrm>
              <a:custGeom>
                <a:avLst/>
                <a:gdLst>
                  <a:gd name="T0" fmla="*/ 10 w 43"/>
                  <a:gd name="T1" fmla="*/ 11 h 37"/>
                  <a:gd name="T2" fmla="*/ 10 w 43"/>
                  <a:gd name="T3" fmla="*/ 11 h 37"/>
                  <a:gd name="T4" fmla="*/ 0 w 43"/>
                  <a:gd name="T5" fmla="*/ 25 h 37"/>
                  <a:gd name="T6" fmla="*/ 33 w 43"/>
                  <a:gd name="T7" fmla="*/ 37 h 37"/>
                  <a:gd name="T8" fmla="*/ 39 w 43"/>
                  <a:gd name="T9" fmla="*/ 26 h 37"/>
                  <a:gd name="T10" fmla="*/ 39 w 43"/>
                  <a:gd name="T11" fmla="*/ 26 h 37"/>
                  <a:gd name="T12" fmla="*/ 33 w 43"/>
                  <a:gd name="T13" fmla="*/ 5 h 37"/>
                  <a:gd name="T14" fmla="*/ 10 w 43"/>
                  <a:gd name="T15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37">
                    <a:moveTo>
                      <a:pt x="10" y="11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7" y="16"/>
                      <a:pt x="4" y="21"/>
                      <a:pt x="0" y="25"/>
                    </a:cubicBezTo>
                    <a:cubicBezTo>
                      <a:pt x="9" y="32"/>
                      <a:pt x="20" y="36"/>
                      <a:pt x="33" y="37"/>
                    </a:cubicBezTo>
                    <a:cubicBezTo>
                      <a:pt x="35" y="33"/>
                      <a:pt x="37" y="30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3" y="18"/>
                      <a:pt x="40" y="9"/>
                      <a:pt x="33" y="5"/>
                    </a:cubicBezTo>
                    <a:cubicBezTo>
                      <a:pt x="25" y="0"/>
                      <a:pt x="15" y="3"/>
                      <a:pt x="10" y="11"/>
                    </a:cubicBez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" name="Forme libre 30"/>
              <p:cNvSpPr>
                <a:spLocks/>
              </p:cNvSpPr>
              <p:nvPr userDrawn="1"/>
            </p:nvSpPr>
            <p:spPr bwMode="auto">
              <a:xfrm>
                <a:off x="214337" y="0"/>
                <a:ext cx="4270634" cy="1810442"/>
              </a:xfrm>
              <a:custGeom>
                <a:avLst/>
                <a:gdLst>
                  <a:gd name="connsiteX0" fmla="*/ 0 w 4270634"/>
                  <a:gd name="connsiteY0" fmla="*/ 0 h 1810442"/>
                  <a:gd name="connsiteX1" fmla="*/ 756829 w 4270634"/>
                  <a:gd name="connsiteY1" fmla="*/ 0 h 1810442"/>
                  <a:gd name="connsiteX2" fmla="*/ 770052 w 4270634"/>
                  <a:gd name="connsiteY2" fmla="*/ 52577 h 1810442"/>
                  <a:gd name="connsiteX3" fmla="*/ 2146209 w 4270634"/>
                  <a:gd name="connsiteY3" fmla="*/ 1081139 h 1810442"/>
                  <a:gd name="connsiteX4" fmla="*/ 3500694 w 4270634"/>
                  <a:gd name="connsiteY4" fmla="*/ 52577 h 1810442"/>
                  <a:gd name="connsiteX5" fmla="*/ 3513879 w 4270634"/>
                  <a:gd name="connsiteY5" fmla="*/ 0 h 1810442"/>
                  <a:gd name="connsiteX6" fmla="*/ 4270634 w 4270634"/>
                  <a:gd name="connsiteY6" fmla="*/ 0 h 1810442"/>
                  <a:gd name="connsiteX7" fmla="*/ 4261521 w 4270634"/>
                  <a:gd name="connsiteY7" fmla="*/ 59181 h 1810442"/>
                  <a:gd name="connsiteX8" fmla="*/ 2146209 w 4270634"/>
                  <a:gd name="connsiteY8" fmla="*/ 1810442 h 1810442"/>
                  <a:gd name="connsiteX9" fmla="*/ 9124 w 4270634"/>
                  <a:gd name="connsiteY9" fmla="*/ 59181 h 1810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70634" h="1810442">
                    <a:moveTo>
                      <a:pt x="0" y="0"/>
                    </a:moveTo>
                    <a:lnTo>
                      <a:pt x="756829" y="0"/>
                    </a:lnTo>
                    <a:lnTo>
                      <a:pt x="770052" y="52577"/>
                    </a:lnTo>
                    <a:cubicBezTo>
                      <a:pt x="949731" y="643453"/>
                      <a:pt x="1490362" y="1081139"/>
                      <a:pt x="2146209" y="1081139"/>
                    </a:cubicBezTo>
                    <a:cubicBezTo>
                      <a:pt x="2784331" y="1081139"/>
                      <a:pt x="3321638" y="643453"/>
                      <a:pt x="3500694" y="52577"/>
                    </a:cubicBezTo>
                    <a:lnTo>
                      <a:pt x="3513879" y="0"/>
                    </a:lnTo>
                    <a:lnTo>
                      <a:pt x="4270634" y="0"/>
                    </a:lnTo>
                    <a:lnTo>
                      <a:pt x="4261521" y="59181"/>
                    </a:lnTo>
                    <a:cubicBezTo>
                      <a:pt x="4057506" y="1049024"/>
                      <a:pt x="3177021" y="1810442"/>
                      <a:pt x="2146209" y="1810442"/>
                    </a:cubicBezTo>
                    <a:cubicBezTo>
                      <a:pt x="1096308" y="1810442"/>
                      <a:pt x="213437" y="1049024"/>
                      <a:pt x="9124" y="59181"/>
                    </a:cubicBez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36" name="Forme libre 35"/>
              <p:cNvSpPr>
                <a:spLocks/>
              </p:cNvSpPr>
              <p:nvPr userDrawn="1"/>
            </p:nvSpPr>
            <p:spPr bwMode="auto">
              <a:xfrm>
                <a:off x="0" y="962234"/>
                <a:ext cx="1203597" cy="848209"/>
              </a:xfrm>
              <a:custGeom>
                <a:avLst/>
                <a:gdLst>
                  <a:gd name="connsiteX0" fmla="*/ 0 w 1203597"/>
                  <a:gd name="connsiteY0" fmla="*/ 0 h 848209"/>
                  <a:gd name="connsiteX1" fmla="*/ 45384 w 1203597"/>
                  <a:gd name="connsiteY1" fmla="*/ 22001 h 848209"/>
                  <a:gd name="connsiteX2" fmla="*/ 486312 w 1203597"/>
                  <a:gd name="connsiteY2" fmla="*/ 118906 h 848209"/>
                  <a:gd name="connsiteX3" fmla="*/ 1203597 w 1203597"/>
                  <a:gd name="connsiteY3" fmla="*/ 737709 h 848209"/>
                  <a:gd name="connsiteX4" fmla="*/ 551520 w 1203597"/>
                  <a:gd name="connsiteY4" fmla="*/ 848209 h 848209"/>
                  <a:gd name="connsiteX5" fmla="*/ 168774 w 1203597"/>
                  <a:gd name="connsiteY5" fmla="*/ 813559 h 848209"/>
                  <a:gd name="connsiteX6" fmla="*/ 0 w 1203597"/>
                  <a:gd name="connsiteY6" fmla="*/ 774730 h 8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3597" h="848209">
                    <a:moveTo>
                      <a:pt x="0" y="0"/>
                    </a:moveTo>
                    <a:lnTo>
                      <a:pt x="45384" y="22001"/>
                    </a:lnTo>
                    <a:cubicBezTo>
                      <a:pt x="183532" y="76330"/>
                      <a:pt x="331783" y="109928"/>
                      <a:pt x="486312" y="118906"/>
                    </a:cubicBezTo>
                    <a:cubicBezTo>
                      <a:pt x="681935" y="362007"/>
                      <a:pt x="921030" y="583008"/>
                      <a:pt x="1203597" y="737709"/>
                    </a:cubicBezTo>
                    <a:cubicBezTo>
                      <a:pt x="986238" y="804009"/>
                      <a:pt x="768879" y="848209"/>
                      <a:pt x="551520" y="848209"/>
                    </a:cubicBezTo>
                    <a:cubicBezTo>
                      <a:pt x="420765" y="848209"/>
                      <a:pt x="292870" y="836312"/>
                      <a:pt x="168774" y="813559"/>
                    </a:cubicBezTo>
                    <a:lnTo>
                      <a:pt x="0" y="77473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</p:grpSp>
      <p:sp>
        <p:nvSpPr>
          <p:cNvPr id="12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55576" y="2490048"/>
            <a:ext cx="1401338" cy="83528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None/>
              <a:defRPr lang="fr-FR" sz="7200" b="1" i="0" u="none" strike="noStrike" cap="none" baseline="0" dirty="0">
                <a:solidFill>
                  <a:schemeClr val="accent1"/>
                </a:solidFill>
                <a:latin typeface="Arial" panose="020B0604020202020204" pitchFamily="34" charset="0"/>
                <a:ea typeface="Arial Black" panose="020B0A040201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01</a:t>
            </a:r>
          </a:p>
        </p:txBody>
      </p:sp>
      <p:sp>
        <p:nvSpPr>
          <p:cNvPr id="13" name="Espace réservé du texte 52"/>
          <p:cNvSpPr>
            <a:spLocks noGrp="1"/>
          </p:cNvSpPr>
          <p:nvPr>
            <p:ph type="body" sz="quarter" idx="13" hasCustomPrompt="1"/>
          </p:nvPr>
        </p:nvSpPr>
        <p:spPr>
          <a:xfrm>
            <a:off x="2349655" y="2499742"/>
            <a:ext cx="6470818" cy="108208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lang="fr-FR" sz="3200" b="1" i="0" u="none" strike="noStrike" cap="none" baseline="0" dirty="0">
                <a:solidFill>
                  <a:schemeClr val="tx1"/>
                </a:solidFill>
                <a:latin typeface="Arial" panose="020B0604020202020204" pitchFamily="34" charset="0"/>
                <a:ea typeface="Arial Black" panose="020B0A04020102020204" pitchFamily="34" charset="0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TITRE</a:t>
            </a:r>
          </a:p>
          <a:p>
            <a:pPr>
              <a:defRPr/>
            </a:pPr>
            <a:r>
              <a:rPr lang="fr-FR"/>
              <a:t>INTERCALAIRE</a:t>
            </a:r>
          </a:p>
        </p:txBody>
      </p:sp>
    </p:spTree>
    <p:extLst>
      <p:ext uri="{BB962C8B-B14F-4D97-AF65-F5344CB8AC3E}">
        <p14:creationId xmlns:p14="http://schemas.microsoft.com/office/powerpoint/2010/main" val="391038501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1000" y="113518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81793" y="531118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899592" y="1131589"/>
            <a:ext cx="7704856" cy="3712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1707569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1"/>
          <p:cNvSpPr>
            <a:spLocks noGrp="1"/>
          </p:cNvSpPr>
          <p:nvPr>
            <p:ph sz="quarter" idx="14"/>
          </p:nvPr>
        </p:nvSpPr>
        <p:spPr>
          <a:xfrm>
            <a:off x="900113" y="1131888"/>
            <a:ext cx="3600450" cy="3711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4716463" y="1131888"/>
            <a:ext cx="3887787" cy="3711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900385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8779725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900385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6697437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5"/>
          <p:cNvSpPr>
            <a:spLocks noGrp="1"/>
          </p:cNvSpPr>
          <p:nvPr>
            <p:ph type="pic" sz="quarter" idx="13" hasCustomPrompt="1"/>
          </p:nvPr>
        </p:nvSpPr>
        <p:spPr>
          <a:xfrm>
            <a:off x="6084888" y="0"/>
            <a:ext cx="3059112" cy="51435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image</a:t>
            </a: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900385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2015412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1138087"/>
            <a:ext cx="7200000" cy="286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1854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907007" y="2283718"/>
            <a:ext cx="5329986" cy="576064"/>
            <a:chOff x="288926" y="438151"/>
            <a:chExt cx="4284661" cy="44450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450975" y="541338"/>
              <a:ext cx="377825" cy="282575"/>
            </a:xfrm>
            <a:custGeom>
              <a:avLst/>
              <a:gdLst>
                <a:gd name="T0" fmla="*/ 180 w 194"/>
                <a:gd name="T1" fmla="*/ 144 h 144"/>
                <a:gd name="T2" fmla="*/ 180 w 194"/>
                <a:gd name="T3" fmla="*/ 59 h 144"/>
                <a:gd name="T4" fmla="*/ 144 w 194"/>
                <a:gd name="T5" fmla="*/ 13 h 144"/>
                <a:gd name="T6" fmla="*/ 104 w 194"/>
                <a:gd name="T7" fmla="*/ 60 h 144"/>
                <a:gd name="T8" fmla="*/ 104 w 194"/>
                <a:gd name="T9" fmla="*/ 144 h 144"/>
                <a:gd name="T10" fmla="*/ 90 w 194"/>
                <a:gd name="T11" fmla="*/ 144 h 144"/>
                <a:gd name="T12" fmla="*/ 90 w 194"/>
                <a:gd name="T13" fmla="*/ 54 h 144"/>
                <a:gd name="T14" fmla="*/ 53 w 194"/>
                <a:gd name="T15" fmla="*/ 13 h 144"/>
                <a:gd name="T16" fmla="*/ 14 w 194"/>
                <a:gd name="T17" fmla="*/ 59 h 144"/>
                <a:gd name="T18" fmla="*/ 14 w 194"/>
                <a:gd name="T19" fmla="*/ 144 h 144"/>
                <a:gd name="T20" fmla="*/ 0 w 194"/>
                <a:gd name="T21" fmla="*/ 144 h 144"/>
                <a:gd name="T22" fmla="*/ 0 w 194"/>
                <a:gd name="T23" fmla="*/ 4 h 144"/>
                <a:gd name="T24" fmla="*/ 14 w 194"/>
                <a:gd name="T25" fmla="*/ 4 h 144"/>
                <a:gd name="T26" fmla="*/ 14 w 194"/>
                <a:gd name="T27" fmla="*/ 26 h 144"/>
                <a:gd name="T28" fmla="*/ 55 w 194"/>
                <a:gd name="T29" fmla="*/ 0 h 144"/>
                <a:gd name="T30" fmla="*/ 99 w 194"/>
                <a:gd name="T31" fmla="*/ 28 h 144"/>
                <a:gd name="T32" fmla="*/ 145 w 194"/>
                <a:gd name="T33" fmla="*/ 0 h 144"/>
                <a:gd name="T34" fmla="*/ 194 w 194"/>
                <a:gd name="T35" fmla="*/ 54 h 144"/>
                <a:gd name="T36" fmla="*/ 194 w 194"/>
                <a:gd name="T37" fmla="*/ 144 h 144"/>
                <a:gd name="T38" fmla="*/ 180 w 194"/>
                <a:gd name="T3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4" h="144">
                  <a:moveTo>
                    <a:pt x="180" y="144"/>
                  </a:moveTo>
                  <a:cubicBezTo>
                    <a:pt x="180" y="59"/>
                    <a:pt x="180" y="59"/>
                    <a:pt x="180" y="59"/>
                  </a:cubicBezTo>
                  <a:cubicBezTo>
                    <a:pt x="180" y="28"/>
                    <a:pt x="168" y="13"/>
                    <a:pt x="144" y="13"/>
                  </a:cubicBezTo>
                  <a:cubicBezTo>
                    <a:pt x="121" y="13"/>
                    <a:pt x="104" y="29"/>
                    <a:pt x="104" y="60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90" y="144"/>
                    <a:pt x="90" y="144"/>
                    <a:pt x="90" y="14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28"/>
                    <a:pt x="76" y="13"/>
                    <a:pt x="53" y="13"/>
                  </a:cubicBezTo>
                  <a:cubicBezTo>
                    <a:pt x="32" y="13"/>
                    <a:pt x="14" y="31"/>
                    <a:pt x="14" y="59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9" y="13"/>
                    <a:pt x="35" y="0"/>
                    <a:pt x="55" y="0"/>
                  </a:cubicBezTo>
                  <a:cubicBezTo>
                    <a:pt x="77" y="0"/>
                    <a:pt x="93" y="12"/>
                    <a:pt x="99" y="28"/>
                  </a:cubicBezTo>
                  <a:cubicBezTo>
                    <a:pt x="107" y="10"/>
                    <a:pt x="125" y="0"/>
                    <a:pt x="145" y="0"/>
                  </a:cubicBezTo>
                  <a:cubicBezTo>
                    <a:pt x="176" y="0"/>
                    <a:pt x="194" y="23"/>
                    <a:pt x="194" y="54"/>
                  </a:cubicBezTo>
                  <a:cubicBezTo>
                    <a:pt x="194" y="144"/>
                    <a:pt x="194" y="144"/>
                    <a:pt x="194" y="144"/>
                  </a:cubicBezTo>
                  <a:lnTo>
                    <a:pt x="180" y="1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889125" y="541338"/>
              <a:ext cx="374650" cy="282575"/>
            </a:xfrm>
            <a:custGeom>
              <a:avLst/>
              <a:gdLst>
                <a:gd name="T0" fmla="*/ 180 w 193"/>
                <a:gd name="T1" fmla="*/ 144 h 144"/>
                <a:gd name="T2" fmla="*/ 180 w 193"/>
                <a:gd name="T3" fmla="*/ 59 h 144"/>
                <a:gd name="T4" fmla="*/ 143 w 193"/>
                <a:gd name="T5" fmla="*/ 13 h 144"/>
                <a:gd name="T6" fmla="*/ 103 w 193"/>
                <a:gd name="T7" fmla="*/ 60 h 144"/>
                <a:gd name="T8" fmla="*/ 103 w 193"/>
                <a:gd name="T9" fmla="*/ 144 h 144"/>
                <a:gd name="T10" fmla="*/ 90 w 193"/>
                <a:gd name="T11" fmla="*/ 144 h 144"/>
                <a:gd name="T12" fmla="*/ 90 w 193"/>
                <a:gd name="T13" fmla="*/ 54 h 144"/>
                <a:gd name="T14" fmla="*/ 53 w 193"/>
                <a:gd name="T15" fmla="*/ 13 h 144"/>
                <a:gd name="T16" fmla="*/ 13 w 193"/>
                <a:gd name="T17" fmla="*/ 59 h 144"/>
                <a:gd name="T18" fmla="*/ 13 w 193"/>
                <a:gd name="T19" fmla="*/ 144 h 144"/>
                <a:gd name="T20" fmla="*/ 0 w 193"/>
                <a:gd name="T21" fmla="*/ 144 h 144"/>
                <a:gd name="T22" fmla="*/ 0 w 193"/>
                <a:gd name="T23" fmla="*/ 4 h 144"/>
                <a:gd name="T24" fmla="*/ 13 w 193"/>
                <a:gd name="T25" fmla="*/ 4 h 144"/>
                <a:gd name="T26" fmla="*/ 13 w 193"/>
                <a:gd name="T27" fmla="*/ 26 h 144"/>
                <a:gd name="T28" fmla="*/ 54 w 193"/>
                <a:gd name="T29" fmla="*/ 0 h 144"/>
                <a:gd name="T30" fmla="*/ 98 w 193"/>
                <a:gd name="T31" fmla="*/ 28 h 144"/>
                <a:gd name="T32" fmla="*/ 145 w 193"/>
                <a:gd name="T33" fmla="*/ 0 h 144"/>
                <a:gd name="T34" fmla="*/ 193 w 193"/>
                <a:gd name="T35" fmla="*/ 54 h 144"/>
                <a:gd name="T36" fmla="*/ 193 w 193"/>
                <a:gd name="T37" fmla="*/ 144 h 144"/>
                <a:gd name="T38" fmla="*/ 180 w 193"/>
                <a:gd name="T3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3" h="144">
                  <a:moveTo>
                    <a:pt x="180" y="144"/>
                  </a:moveTo>
                  <a:cubicBezTo>
                    <a:pt x="180" y="59"/>
                    <a:pt x="180" y="59"/>
                    <a:pt x="180" y="59"/>
                  </a:cubicBezTo>
                  <a:cubicBezTo>
                    <a:pt x="180" y="28"/>
                    <a:pt x="167" y="13"/>
                    <a:pt x="143" y="13"/>
                  </a:cubicBezTo>
                  <a:cubicBezTo>
                    <a:pt x="121" y="13"/>
                    <a:pt x="103" y="29"/>
                    <a:pt x="103" y="60"/>
                  </a:cubicBezTo>
                  <a:cubicBezTo>
                    <a:pt x="103" y="144"/>
                    <a:pt x="103" y="144"/>
                    <a:pt x="103" y="144"/>
                  </a:cubicBezTo>
                  <a:cubicBezTo>
                    <a:pt x="90" y="144"/>
                    <a:pt x="90" y="144"/>
                    <a:pt x="90" y="14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28"/>
                    <a:pt x="75" y="13"/>
                    <a:pt x="53" y="13"/>
                  </a:cubicBezTo>
                  <a:cubicBezTo>
                    <a:pt x="31" y="13"/>
                    <a:pt x="13" y="31"/>
                    <a:pt x="13" y="59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9" y="13"/>
                    <a:pt x="35" y="0"/>
                    <a:pt x="54" y="0"/>
                  </a:cubicBezTo>
                  <a:cubicBezTo>
                    <a:pt x="77" y="0"/>
                    <a:pt x="92" y="12"/>
                    <a:pt x="98" y="28"/>
                  </a:cubicBezTo>
                  <a:cubicBezTo>
                    <a:pt x="107" y="10"/>
                    <a:pt x="124" y="0"/>
                    <a:pt x="145" y="0"/>
                  </a:cubicBezTo>
                  <a:cubicBezTo>
                    <a:pt x="176" y="0"/>
                    <a:pt x="193" y="23"/>
                    <a:pt x="193" y="54"/>
                  </a:cubicBezTo>
                  <a:cubicBezTo>
                    <a:pt x="193" y="144"/>
                    <a:pt x="193" y="144"/>
                    <a:pt x="193" y="144"/>
                  </a:cubicBezTo>
                  <a:lnTo>
                    <a:pt x="180" y="1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2320925" y="547688"/>
              <a:ext cx="207962" cy="280988"/>
            </a:xfrm>
            <a:custGeom>
              <a:avLst/>
              <a:gdLst>
                <a:gd name="T0" fmla="*/ 0 w 107"/>
                <a:gd name="T1" fmla="*/ 91 h 143"/>
                <a:gd name="T2" fmla="*/ 0 w 107"/>
                <a:gd name="T3" fmla="*/ 0 h 143"/>
                <a:gd name="T4" fmla="*/ 13 w 107"/>
                <a:gd name="T5" fmla="*/ 0 h 143"/>
                <a:gd name="T6" fmla="*/ 13 w 107"/>
                <a:gd name="T7" fmla="*/ 90 h 143"/>
                <a:gd name="T8" fmla="*/ 51 w 107"/>
                <a:gd name="T9" fmla="*/ 131 h 143"/>
                <a:gd name="T10" fmla="*/ 93 w 107"/>
                <a:gd name="T11" fmla="*/ 85 h 143"/>
                <a:gd name="T12" fmla="*/ 93 w 107"/>
                <a:gd name="T13" fmla="*/ 0 h 143"/>
                <a:gd name="T14" fmla="*/ 107 w 107"/>
                <a:gd name="T15" fmla="*/ 0 h 143"/>
                <a:gd name="T16" fmla="*/ 107 w 107"/>
                <a:gd name="T17" fmla="*/ 140 h 143"/>
                <a:gd name="T18" fmla="*/ 93 w 107"/>
                <a:gd name="T19" fmla="*/ 140 h 143"/>
                <a:gd name="T20" fmla="*/ 93 w 107"/>
                <a:gd name="T21" fmla="*/ 118 h 143"/>
                <a:gd name="T22" fmla="*/ 49 w 107"/>
                <a:gd name="T23" fmla="*/ 143 h 143"/>
                <a:gd name="T24" fmla="*/ 0 w 107"/>
                <a:gd name="T25" fmla="*/ 9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43">
                  <a:moveTo>
                    <a:pt x="0" y="9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115"/>
                    <a:pt x="29" y="131"/>
                    <a:pt x="51" y="131"/>
                  </a:cubicBezTo>
                  <a:cubicBezTo>
                    <a:pt x="76" y="131"/>
                    <a:pt x="93" y="113"/>
                    <a:pt x="93" y="8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86" y="132"/>
                    <a:pt x="69" y="143"/>
                    <a:pt x="49" y="143"/>
                  </a:cubicBezTo>
                  <a:cubicBezTo>
                    <a:pt x="21" y="143"/>
                    <a:pt x="0" y="123"/>
                    <a:pt x="0" y="9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2589213" y="541338"/>
              <a:ext cx="206375" cy="282575"/>
            </a:xfrm>
            <a:custGeom>
              <a:avLst/>
              <a:gdLst>
                <a:gd name="T0" fmla="*/ 106 w 106"/>
                <a:gd name="T1" fmla="*/ 53 h 144"/>
                <a:gd name="T2" fmla="*/ 106 w 106"/>
                <a:gd name="T3" fmla="*/ 144 h 144"/>
                <a:gd name="T4" fmla="*/ 93 w 106"/>
                <a:gd name="T5" fmla="*/ 144 h 144"/>
                <a:gd name="T6" fmla="*/ 93 w 106"/>
                <a:gd name="T7" fmla="*/ 54 h 144"/>
                <a:gd name="T8" fmla="*/ 55 w 106"/>
                <a:gd name="T9" fmla="*/ 13 h 144"/>
                <a:gd name="T10" fmla="*/ 13 w 106"/>
                <a:gd name="T11" fmla="*/ 58 h 144"/>
                <a:gd name="T12" fmla="*/ 13 w 106"/>
                <a:gd name="T13" fmla="*/ 144 h 144"/>
                <a:gd name="T14" fmla="*/ 0 w 106"/>
                <a:gd name="T15" fmla="*/ 144 h 144"/>
                <a:gd name="T16" fmla="*/ 0 w 106"/>
                <a:gd name="T17" fmla="*/ 4 h 144"/>
                <a:gd name="T18" fmla="*/ 13 w 106"/>
                <a:gd name="T19" fmla="*/ 4 h 144"/>
                <a:gd name="T20" fmla="*/ 13 w 106"/>
                <a:gd name="T21" fmla="*/ 26 h 144"/>
                <a:gd name="T22" fmla="*/ 57 w 106"/>
                <a:gd name="T23" fmla="*/ 0 h 144"/>
                <a:gd name="T24" fmla="*/ 106 w 106"/>
                <a:gd name="T25" fmla="*/ 5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44">
                  <a:moveTo>
                    <a:pt x="106" y="53"/>
                  </a:moveTo>
                  <a:cubicBezTo>
                    <a:pt x="106" y="144"/>
                    <a:pt x="106" y="144"/>
                    <a:pt x="106" y="144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28"/>
                    <a:pt x="77" y="13"/>
                    <a:pt x="55" y="13"/>
                  </a:cubicBezTo>
                  <a:cubicBezTo>
                    <a:pt x="30" y="13"/>
                    <a:pt x="13" y="31"/>
                    <a:pt x="13" y="58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0" y="12"/>
                    <a:pt x="37" y="0"/>
                    <a:pt x="57" y="0"/>
                  </a:cubicBezTo>
                  <a:cubicBezTo>
                    <a:pt x="85" y="0"/>
                    <a:pt x="106" y="20"/>
                    <a:pt x="106" y="5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2838450" y="541338"/>
              <a:ext cx="207962" cy="287338"/>
            </a:xfrm>
            <a:custGeom>
              <a:avLst/>
              <a:gdLst>
                <a:gd name="T0" fmla="*/ 53 w 107"/>
                <a:gd name="T1" fmla="*/ 55 h 147"/>
                <a:gd name="T2" fmla="*/ 93 w 107"/>
                <a:gd name="T3" fmla="*/ 70 h 147"/>
                <a:gd name="T4" fmla="*/ 93 w 107"/>
                <a:gd name="T5" fmla="*/ 49 h 147"/>
                <a:gd name="T6" fmla="*/ 55 w 107"/>
                <a:gd name="T7" fmla="*/ 13 h 147"/>
                <a:gd name="T8" fmla="*/ 12 w 107"/>
                <a:gd name="T9" fmla="*/ 26 h 147"/>
                <a:gd name="T10" fmla="*/ 6 w 107"/>
                <a:gd name="T11" fmla="*/ 15 h 147"/>
                <a:gd name="T12" fmla="*/ 56 w 107"/>
                <a:gd name="T13" fmla="*/ 0 h 147"/>
                <a:gd name="T14" fmla="*/ 107 w 107"/>
                <a:gd name="T15" fmla="*/ 50 h 147"/>
                <a:gd name="T16" fmla="*/ 107 w 107"/>
                <a:gd name="T17" fmla="*/ 144 h 147"/>
                <a:gd name="T18" fmla="*/ 96 w 107"/>
                <a:gd name="T19" fmla="*/ 144 h 147"/>
                <a:gd name="T20" fmla="*/ 93 w 107"/>
                <a:gd name="T21" fmla="*/ 131 h 147"/>
                <a:gd name="T22" fmla="*/ 53 w 107"/>
                <a:gd name="T23" fmla="*/ 147 h 147"/>
                <a:gd name="T24" fmla="*/ 0 w 107"/>
                <a:gd name="T25" fmla="*/ 101 h 147"/>
                <a:gd name="T26" fmla="*/ 53 w 107"/>
                <a:gd name="T27" fmla="*/ 55 h 147"/>
                <a:gd name="T28" fmla="*/ 54 w 107"/>
                <a:gd name="T29" fmla="*/ 135 h 147"/>
                <a:gd name="T30" fmla="*/ 94 w 107"/>
                <a:gd name="T31" fmla="*/ 101 h 147"/>
                <a:gd name="T32" fmla="*/ 54 w 107"/>
                <a:gd name="T33" fmla="*/ 68 h 147"/>
                <a:gd name="T34" fmla="*/ 13 w 107"/>
                <a:gd name="T35" fmla="*/ 101 h 147"/>
                <a:gd name="T36" fmla="*/ 54 w 107"/>
                <a:gd name="T37" fmla="*/ 1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47">
                  <a:moveTo>
                    <a:pt x="53" y="55"/>
                  </a:moveTo>
                  <a:cubicBezTo>
                    <a:pt x="72" y="55"/>
                    <a:pt x="87" y="63"/>
                    <a:pt x="93" y="70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26"/>
                    <a:pt x="78" y="13"/>
                    <a:pt x="55" y="13"/>
                  </a:cubicBezTo>
                  <a:cubicBezTo>
                    <a:pt x="37" y="13"/>
                    <a:pt x="22" y="20"/>
                    <a:pt x="12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0"/>
                    <a:pt x="32" y="0"/>
                    <a:pt x="56" y="0"/>
                  </a:cubicBezTo>
                  <a:cubicBezTo>
                    <a:pt x="91" y="0"/>
                    <a:pt x="107" y="21"/>
                    <a:pt x="107" y="50"/>
                  </a:cubicBezTo>
                  <a:cubicBezTo>
                    <a:pt x="107" y="144"/>
                    <a:pt x="107" y="144"/>
                    <a:pt x="107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86" y="139"/>
                    <a:pt x="73" y="147"/>
                    <a:pt x="53" y="147"/>
                  </a:cubicBezTo>
                  <a:cubicBezTo>
                    <a:pt x="22" y="147"/>
                    <a:pt x="0" y="127"/>
                    <a:pt x="0" y="101"/>
                  </a:cubicBezTo>
                  <a:cubicBezTo>
                    <a:pt x="0" y="75"/>
                    <a:pt x="22" y="55"/>
                    <a:pt x="53" y="55"/>
                  </a:cubicBezTo>
                  <a:close/>
                  <a:moveTo>
                    <a:pt x="54" y="135"/>
                  </a:moveTo>
                  <a:cubicBezTo>
                    <a:pt x="78" y="135"/>
                    <a:pt x="94" y="120"/>
                    <a:pt x="94" y="101"/>
                  </a:cubicBezTo>
                  <a:cubicBezTo>
                    <a:pt x="94" y="81"/>
                    <a:pt x="78" y="68"/>
                    <a:pt x="54" y="68"/>
                  </a:cubicBezTo>
                  <a:cubicBezTo>
                    <a:pt x="29" y="68"/>
                    <a:pt x="13" y="82"/>
                    <a:pt x="13" y="101"/>
                  </a:cubicBezTo>
                  <a:cubicBezTo>
                    <a:pt x="13" y="119"/>
                    <a:pt x="29" y="135"/>
                    <a:pt x="54" y="1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10"/>
            <p:cNvSpPr>
              <a:spLocks/>
            </p:cNvSpPr>
            <p:nvPr userDrawn="1"/>
          </p:nvSpPr>
          <p:spPr bwMode="auto">
            <a:xfrm>
              <a:off x="3100388" y="547688"/>
              <a:ext cx="207962" cy="280988"/>
            </a:xfrm>
            <a:custGeom>
              <a:avLst/>
              <a:gdLst>
                <a:gd name="T0" fmla="*/ 0 w 107"/>
                <a:gd name="T1" fmla="*/ 91 h 143"/>
                <a:gd name="T2" fmla="*/ 0 w 107"/>
                <a:gd name="T3" fmla="*/ 0 h 143"/>
                <a:gd name="T4" fmla="*/ 14 w 107"/>
                <a:gd name="T5" fmla="*/ 0 h 143"/>
                <a:gd name="T6" fmla="*/ 14 w 107"/>
                <a:gd name="T7" fmla="*/ 90 h 143"/>
                <a:gd name="T8" fmla="*/ 52 w 107"/>
                <a:gd name="T9" fmla="*/ 131 h 143"/>
                <a:gd name="T10" fmla="*/ 94 w 107"/>
                <a:gd name="T11" fmla="*/ 85 h 143"/>
                <a:gd name="T12" fmla="*/ 94 w 107"/>
                <a:gd name="T13" fmla="*/ 0 h 143"/>
                <a:gd name="T14" fmla="*/ 107 w 107"/>
                <a:gd name="T15" fmla="*/ 0 h 143"/>
                <a:gd name="T16" fmla="*/ 107 w 107"/>
                <a:gd name="T17" fmla="*/ 140 h 143"/>
                <a:gd name="T18" fmla="*/ 94 w 107"/>
                <a:gd name="T19" fmla="*/ 140 h 143"/>
                <a:gd name="T20" fmla="*/ 94 w 107"/>
                <a:gd name="T21" fmla="*/ 118 h 143"/>
                <a:gd name="T22" fmla="*/ 50 w 107"/>
                <a:gd name="T23" fmla="*/ 143 h 143"/>
                <a:gd name="T24" fmla="*/ 0 w 107"/>
                <a:gd name="T25" fmla="*/ 9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43">
                  <a:moveTo>
                    <a:pt x="0" y="9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115"/>
                    <a:pt x="30" y="131"/>
                    <a:pt x="52" y="131"/>
                  </a:cubicBezTo>
                  <a:cubicBezTo>
                    <a:pt x="76" y="131"/>
                    <a:pt x="94" y="113"/>
                    <a:pt x="94" y="85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94" y="140"/>
                    <a:pt x="94" y="140"/>
                    <a:pt x="94" y="140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87" y="132"/>
                    <a:pt x="70" y="143"/>
                    <a:pt x="50" y="143"/>
                  </a:cubicBezTo>
                  <a:cubicBezTo>
                    <a:pt x="21" y="143"/>
                    <a:pt x="0" y="123"/>
                    <a:pt x="0" y="9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11"/>
            <p:cNvSpPr>
              <a:spLocks/>
            </p:cNvSpPr>
            <p:nvPr userDrawn="1"/>
          </p:nvSpPr>
          <p:spPr bwMode="auto">
            <a:xfrm>
              <a:off x="3336925" y="492126"/>
              <a:ext cx="127000" cy="333375"/>
            </a:xfrm>
            <a:custGeom>
              <a:avLst/>
              <a:gdLst>
                <a:gd name="T0" fmla="*/ 30 w 65"/>
                <a:gd name="T1" fmla="*/ 0 h 170"/>
                <a:gd name="T2" fmla="*/ 30 w 65"/>
                <a:gd name="T3" fmla="*/ 29 h 170"/>
                <a:gd name="T4" fmla="*/ 63 w 65"/>
                <a:gd name="T5" fmla="*/ 29 h 170"/>
                <a:gd name="T6" fmla="*/ 63 w 65"/>
                <a:gd name="T7" fmla="*/ 41 h 170"/>
                <a:gd name="T8" fmla="*/ 30 w 65"/>
                <a:gd name="T9" fmla="*/ 41 h 170"/>
                <a:gd name="T10" fmla="*/ 30 w 65"/>
                <a:gd name="T11" fmla="*/ 120 h 170"/>
                <a:gd name="T12" fmla="*/ 58 w 65"/>
                <a:gd name="T13" fmla="*/ 158 h 170"/>
                <a:gd name="T14" fmla="*/ 65 w 65"/>
                <a:gd name="T15" fmla="*/ 158 h 170"/>
                <a:gd name="T16" fmla="*/ 65 w 65"/>
                <a:gd name="T17" fmla="*/ 170 h 170"/>
                <a:gd name="T18" fmla="*/ 53 w 65"/>
                <a:gd name="T19" fmla="*/ 170 h 170"/>
                <a:gd name="T20" fmla="*/ 17 w 65"/>
                <a:gd name="T21" fmla="*/ 128 h 170"/>
                <a:gd name="T22" fmla="*/ 17 w 65"/>
                <a:gd name="T23" fmla="*/ 41 h 170"/>
                <a:gd name="T24" fmla="*/ 0 w 65"/>
                <a:gd name="T25" fmla="*/ 41 h 170"/>
                <a:gd name="T26" fmla="*/ 0 w 65"/>
                <a:gd name="T27" fmla="*/ 29 h 170"/>
                <a:gd name="T28" fmla="*/ 17 w 65"/>
                <a:gd name="T29" fmla="*/ 29 h 170"/>
                <a:gd name="T30" fmla="*/ 17 w 65"/>
                <a:gd name="T31" fmla="*/ 0 h 170"/>
                <a:gd name="T32" fmla="*/ 30 w 65"/>
                <a:gd name="T3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70">
                  <a:moveTo>
                    <a:pt x="30" y="0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50"/>
                    <a:pt x="37" y="158"/>
                    <a:pt x="58" y="158"/>
                  </a:cubicBezTo>
                  <a:cubicBezTo>
                    <a:pt x="61" y="158"/>
                    <a:pt x="65" y="158"/>
                    <a:pt x="65" y="158"/>
                  </a:cubicBezTo>
                  <a:cubicBezTo>
                    <a:pt x="65" y="170"/>
                    <a:pt x="65" y="170"/>
                    <a:pt x="65" y="170"/>
                  </a:cubicBezTo>
                  <a:cubicBezTo>
                    <a:pt x="65" y="170"/>
                    <a:pt x="58" y="170"/>
                    <a:pt x="53" y="170"/>
                  </a:cubicBezTo>
                  <a:cubicBezTo>
                    <a:pt x="31" y="170"/>
                    <a:pt x="17" y="157"/>
                    <a:pt x="17" y="12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12"/>
            <p:cNvSpPr>
              <a:spLocks noEditPoints="1"/>
            </p:cNvSpPr>
            <p:nvPr userDrawn="1"/>
          </p:nvSpPr>
          <p:spPr bwMode="auto">
            <a:xfrm>
              <a:off x="3478213" y="438151"/>
              <a:ext cx="258762" cy="390525"/>
            </a:xfrm>
            <a:custGeom>
              <a:avLst/>
              <a:gdLst>
                <a:gd name="T0" fmla="*/ 67 w 133"/>
                <a:gd name="T1" fmla="*/ 52 h 199"/>
                <a:gd name="T2" fmla="*/ 133 w 133"/>
                <a:gd name="T3" fmla="*/ 122 h 199"/>
                <a:gd name="T4" fmla="*/ 133 w 133"/>
                <a:gd name="T5" fmla="*/ 128 h 199"/>
                <a:gd name="T6" fmla="*/ 14 w 133"/>
                <a:gd name="T7" fmla="*/ 128 h 199"/>
                <a:gd name="T8" fmla="*/ 71 w 133"/>
                <a:gd name="T9" fmla="*/ 187 h 199"/>
                <a:gd name="T10" fmla="*/ 119 w 133"/>
                <a:gd name="T11" fmla="*/ 163 h 199"/>
                <a:gd name="T12" fmla="*/ 128 w 133"/>
                <a:gd name="T13" fmla="*/ 169 h 199"/>
                <a:gd name="T14" fmla="*/ 71 w 133"/>
                <a:gd name="T15" fmla="*/ 199 h 199"/>
                <a:gd name="T16" fmla="*/ 0 w 133"/>
                <a:gd name="T17" fmla="*/ 126 h 199"/>
                <a:gd name="T18" fmla="*/ 67 w 133"/>
                <a:gd name="T19" fmla="*/ 52 h 199"/>
                <a:gd name="T20" fmla="*/ 67 w 133"/>
                <a:gd name="T21" fmla="*/ 65 h 199"/>
                <a:gd name="T22" fmla="*/ 14 w 133"/>
                <a:gd name="T23" fmla="*/ 116 h 199"/>
                <a:gd name="T24" fmla="*/ 119 w 133"/>
                <a:gd name="T25" fmla="*/ 116 h 199"/>
                <a:gd name="T26" fmla="*/ 67 w 133"/>
                <a:gd name="T27" fmla="*/ 65 h 199"/>
                <a:gd name="T28" fmla="*/ 92 w 133"/>
                <a:gd name="T29" fmla="*/ 0 h 199"/>
                <a:gd name="T30" fmla="*/ 69 w 133"/>
                <a:gd name="T31" fmla="*/ 38 h 199"/>
                <a:gd name="T32" fmla="*/ 56 w 133"/>
                <a:gd name="T33" fmla="*/ 38 h 199"/>
                <a:gd name="T34" fmla="*/ 76 w 133"/>
                <a:gd name="T35" fmla="*/ 0 h 199"/>
                <a:gd name="T36" fmla="*/ 92 w 133"/>
                <a:gd name="T3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3" h="199">
                  <a:moveTo>
                    <a:pt x="67" y="52"/>
                  </a:moveTo>
                  <a:cubicBezTo>
                    <a:pt x="107" y="52"/>
                    <a:pt x="133" y="82"/>
                    <a:pt x="133" y="122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65"/>
                    <a:pt x="37" y="187"/>
                    <a:pt x="71" y="187"/>
                  </a:cubicBezTo>
                  <a:cubicBezTo>
                    <a:pt x="97" y="187"/>
                    <a:pt x="111" y="174"/>
                    <a:pt x="119" y="163"/>
                  </a:cubicBezTo>
                  <a:cubicBezTo>
                    <a:pt x="128" y="169"/>
                    <a:pt x="128" y="169"/>
                    <a:pt x="128" y="169"/>
                  </a:cubicBezTo>
                  <a:cubicBezTo>
                    <a:pt x="119" y="184"/>
                    <a:pt x="101" y="199"/>
                    <a:pt x="71" y="199"/>
                  </a:cubicBezTo>
                  <a:cubicBezTo>
                    <a:pt x="29" y="199"/>
                    <a:pt x="0" y="170"/>
                    <a:pt x="0" y="126"/>
                  </a:cubicBezTo>
                  <a:cubicBezTo>
                    <a:pt x="0" y="80"/>
                    <a:pt x="31" y="52"/>
                    <a:pt x="67" y="52"/>
                  </a:cubicBezTo>
                  <a:close/>
                  <a:moveTo>
                    <a:pt x="67" y="65"/>
                  </a:moveTo>
                  <a:cubicBezTo>
                    <a:pt x="41" y="65"/>
                    <a:pt x="17" y="82"/>
                    <a:pt x="14" y="116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17" y="81"/>
                    <a:pt x="93" y="65"/>
                    <a:pt x="67" y="65"/>
                  </a:cubicBezTo>
                  <a:close/>
                  <a:moveTo>
                    <a:pt x="92" y="0"/>
                  </a:moveTo>
                  <a:cubicBezTo>
                    <a:pt x="69" y="38"/>
                    <a:pt x="69" y="38"/>
                    <a:pt x="69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3"/>
            <p:cNvSpPr>
              <a:spLocks noEditPoints="1"/>
            </p:cNvSpPr>
            <p:nvPr userDrawn="1"/>
          </p:nvSpPr>
          <p:spPr bwMode="auto">
            <a:xfrm>
              <a:off x="3765550" y="541338"/>
              <a:ext cx="188912" cy="282575"/>
            </a:xfrm>
            <a:custGeom>
              <a:avLst/>
              <a:gdLst>
                <a:gd name="T0" fmla="*/ 45 w 97"/>
                <a:gd name="T1" fmla="*/ 0 h 144"/>
                <a:gd name="T2" fmla="*/ 92 w 97"/>
                <a:gd name="T3" fmla="*/ 38 h 144"/>
                <a:gd name="T4" fmla="*/ 75 w 97"/>
                <a:gd name="T5" fmla="*/ 69 h 144"/>
                <a:gd name="T6" fmla="*/ 97 w 97"/>
                <a:gd name="T7" fmla="*/ 102 h 144"/>
                <a:gd name="T8" fmla="*/ 48 w 97"/>
                <a:gd name="T9" fmla="*/ 144 h 144"/>
                <a:gd name="T10" fmla="*/ 0 w 97"/>
                <a:gd name="T11" fmla="*/ 144 h 144"/>
                <a:gd name="T12" fmla="*/ 0 w 97"/>
                <a:gd name="T13" fmla="*/ 0 h 144"/>
                <a:gd name="T14" fmla="*/ 45 w 97"/>
                <a:gd name="T15" fmla="*/ 0 h 144"/>
                <a:gd name="T16" fmla="*/ 63 w 97"/>
                <a:gd name="T17" fmla="*/ 42 h 144"/>
                <a:gd name="T18" fmla="*/ 45 w 97"/>
                <a:gd name="T19" fmla="*/ 25 h 144"/>
                <a:gd name="T20" fmla="*/ 29 w 97"/>
                <a:gd name="T21" fmla="*/ 25 h 144"/>
                <a:gd name="T22" fmla="*/ 29 w 97"/>
                <a:gd name="T23" fmla="*/ 58 h 144"/>
                <a:gd name="T24" fmla="*/ 45 w 97"/>
                <a:gd name="T25" fmla="*/ 58 h 144"/>
                <a:gd name="T26" fmla="*/ 63 w 97"/>
                <a:gd name="T27" fmla="*/ 42 h 144"/>
                <a:gd name="T28" fmla="*/ 67 w 97"/>
                <a:gd name="T29" fmla="*/ 100 h 144"/>
                <a:gd name="T30" fmla="*/ 46 w 97"/>
                <a:gd name="T31" fmla="*/ 82 h 144"/>
                <a:gd name="T32" fmla="*/ 29 w 97"/>
                <a:gd name="T33" fmla="*/ 82 h 144"/>
                <a:gd name="T34" fmla="*/ 29 w 97"/>
                <a:gd name="T35" fmla="*/ 119 h 144"/>
                <a:gd name="T36" fmla="*/ 46 w 97"/>
                <a:gd name="T37" fmla="*/ 119 h 144"/>
                <a:gd name="T38" fmla="*/ 67 w 97"/>
                <a:gd name="T39" fmla="*/ 10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7" h="144">
                  <a:moveTo>
                    <a:pt x="45" y="0"/>
                  </a:moveTo>
                  <a:cubicBezTo>
                    <a:pt x="74" y="0"/>
                    <a:pt x="92" y="15"/>
                    <a:pt x="92" y="38"/>
                  </a:cubicBezTo>
                  <a:cubicBezTo>
                    <a:pt x="92" y="51"/>
                    <a:pt x="86" y="63"/>
                    <a:pt x="75" y="69"/>
                  </a:cubicBezTo>
                  <a:cubicBezTo>
                    <a:pt x="89" y="75"/>
                    <a:pt x="97" y="87"/>
                    <a:pt x="97" y="102"/>
                  </a:cubicBezTo>
                  <a:cubicBezTo>
                    <a:pt x="97" y="130"/>
                    <a:pt x="74" y="144"/>
                    <a:pt x="4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5" y="0"/>
                  </a:lnTo>
                  <a:close/>
                  <a:moveTo>
                    <a:pt x="63" y="42"/>
                  </a:moveTo>
                  <a:cubicBezTo>
                    <a:pt x="63" y="32"/>
                    <a:pt x="56" y="25"/>
                    <a:pt x="45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55" y="58"/>
                    <a:pt x="63" y="52"/>
                    <a:pt x="63" y="42"/>
                  </a:cubicBezTo>
                  <a:close/>
                  <a:moveTo>
                    <a:pt x="67" y="100"/>
                  </a:moveTo>
                  <a:cubicBezTo>
                    <a:pt x="67" y="88"/>
                    <a:pt x="58" y="82"/>
                    <a:pt x="46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58" y="119"/>
                    <a:pt x="67" y="112"/>
                    <a:pt x="67" y="100"/>
                  </a:cubicBezTo>
                  <a:close/>
                </a:path>
              </a:pathLst>
            </a:custGeom>
            <a:solidFill>
              <a:srgbClr val="592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>
              <a:off x="3981450" y="541338"/>
              <a:ext cx="180975" cy="282575"/>
            </a:xfrm>
            <a:custGeom>
              <a:avLst/>
              <a:gdLst>
                <a:gd name="T0" fmla="*/ 46 w 93"/>
                <a:gd name="T1" fmla="*/ 0 h 144"/>
                <a:gd name="T2" fmla="*/ 93 w 93"/>
                <a:gd name="T3" fmla="*/ 45 h 144"/>
                <a:gd name="T4" fmla="*/ 46 w 93"/>
                <a:gd name="T5" fmla="*/ 90 h 144"/>
                <a:gd name="T6" fmla="*/ 29 w 93"/>
                <a:gd name="T7" fmla="*/ 90 h 144"/>
                <a:gd name="T8" fmla="*/ 29 w 93"/>
                <a:gd name="T9" fmla="*/ 144 h 144"/>
                <a:gd name="T10" fmla="*/ 0 w 93"/>
                <a:gd name="T11" fmla="*/ 144 h 144"/>
                <a:gd name="T12" fmla="*/ 0 w 93"/>
                <a:gd name="T13" fmla="*/ 0 h 144"/>
                <a:gd name="T14" fmla="*/ 46 w 93"/>
                <a:gd name="T15" fmla="*/ 0 h 144"/>
                <a:gd name="T16" fmla="*/ 63 w 93"/>
                <a:gd name="T17" fmla="*/ 45 h 144"/>
                <a:gd name="T18" fmla="*/ 42 w 93"/>
                <a:gd name="T19" fmla="*/ 25 h 144"/>
                <a:gd name="T20" fmla="*/ 29 w 93"/>
                <a:gd name="T21" fmla="*/ 25 h 144"/>
                <a:gd name="T22" fmla="*/ 29 w 93"/>
                <a:gd name="T23" fmla="*/ 65 h 144"/>
                <a:gd name="T24" fmla="*/ 42 w 93"/>
                <a:gd name="T25" fmla="*/ 65 h 144"/>
                <a:gd name="T26" fmla="*/ 63 w 93"/>
                <a:gd name="T27" fmla="*/ 4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4">
                  <a:moveTo>
                    <a:pt x="46" y="0"/>
                  </a:moveTo>
                  <a:cubicBezTo>
                    <a:pt x="74" y="0"/>
                    <a:pt x="93" y="18"/>
                    <a:pt x="93" y="45"/>
                  </a:cubicBezTo>
                  <a:cubicBezTo>
                    <a:pt x="93" y="72"/>
                    <a:pt x="73" y="90"/>
                    <a:pt x="46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144"/>
                    <a:pt x="29" y="144"/>
                    <a:pt x="29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6" y="0"/>
                  </a:lnTo>
                  <a:close/>
                  <a:moveTo>
                    <a:pt x="63" y="45"/>
                  </a:moveTo>
                  <a:cubicBezTo>
                    <a:pt x="63" y="33"/>
                    <a:pt x="54" y="25"/>
                    <a:pt x="42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54" y="65"/>
                    <a:pt x="63" y="57"/>
                    <a:pt x="63" y="45"/>
                  </a:cubicBezTo>
                  <a:close/>
                </a:path>
              </a:pathLst>
            </a:custGeom>
            <a:solidFill>
              <a:srgbClr val="592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5"/>
            <p:cNvSpPr>
              <a:spLocks/>
            </p:cNvSpPr>
            <p:nvPr userDrawn="1"/>
          </p:nvSpPr>
          <p:spPr bwMode="auto">
            <a:xfrm>
              <a:off x="4170363" y="536576"/>
              <a:ext cx="230187" cy="290513"/>
            </a:xfrm>
            <a:custGeom>
              <a:avLst/>
              <a:gdLst>
                <a:gd name="T0" fmla="*/ 0 w 119"/>
                <a:gd name="T1" fmla="*/ 74 h 148"/>
                <a:gd name="T2" fmla="*/ 75 w 119"/>
                <a:gd name="T3" fmla="*/ 0 h 148"/>
                <a:gd name="T4" fmla="*/ 117 w 119"/>
                <a:gd name="T5" fmla="*/ 13 h 148"/>
                <a:gd name="T6" fmla="*/ 109 w 119"/>
                <a:gd name="T7" fmla="*/ 38 h 148"/>
                <a:gd name="T8" fmla="*/ 75 w 119"/>
                <a:gd name="T9" fmla="*/ 27 h 148"/>
                <a:gd name="T10" fmla="*/ 30 w 119"/>
                <a:gd name="T11" fmla="*/ 74 h 148"/>
                <a:gd name="T12" fmla="*/ 75 w 119"/>
                <a:gd name="T13" fmla="*/ 121 h 148"/>
                <a:gd name="T14" fmla="*/ 110 w 119"/>
                <a:gd name="T15" fmla="*/ 110 h 148"/>
                <a:gd name="T16" fmla="*/ 119 w 119"/>
                <a:gd name="T17" fmla="*/ 135 h 148"/>
                <a:gd name="T18" fmla="*/ 75 w 119"/>
                <a:gd name="T19" fmla="*/ 148 h 148"/>
                <a:gd name="T20" fmla="*/ 0 w 119"/>
                <a:gd name="T21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" h="148">
                  <a:moveTo>
                    <a:pt x="0" y="74"/>
                  </a:moveTo>
                  <a:cubicBezTo>
                    <a:pt x="0" y="32"/>
                    <a:pt x="32" y="0"/>
                    <a:pt x="75" y="0"/>
                  </a:cubicBezTo>
                  <a:cubicBezTo>
                    <a:pt x="94" y="0"/>
                    <a:pt x="108" y="6"/>
                    <a:pt x="117" y="13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2" y="33"/>
                    <a:pt x="89" y="27"/>
                    <a:pt x="75" y="27"/>
                  </a:cubicBezTo>
                  <a:cubicBezTo>
                    <a:pt x="49" y="27"/>
                    <a:pt x="30" y="47"/>
                    <a:pt x="30" y="74"/>
                  </a:cubicBezTo>
                  <a:cubicBezTo>
                    <a:pt x="30" y="102"/>
                    <a:pt x="49" y="121"/>
                    <a:pt x="75" y="121"/>
                  </a:cubicBezTo>
                  <a:cubicBezTo>
                    <a:pt x="90" y="121"/>
                    <a:pt x="104" y="114"/>
                    <a:pt x="110" y="110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10" y="141"/>
                    <a:pt x="96" y="148"/>
                    <a:pt x="75" y="148"/>
                  </a:cubicBezTo>
                  <a:cubicBezTo>
                    <a:pt x="30" y="148"/>
                    <a:pt x="0" y="116"/>
                    <a:pt x="0" y="74"/>
                  </a:cubicBezTo>
                  <a:close/>
                </a:path>
              </a:pathLst>
            </a:custGeom>
            <a:solidFill>
              <a:srgbClr val="592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425950" y="541338"/>
              <a:ext cx="147637" cy="282575"/>
            </a:xfrm>
            <a:custGeom>
              <a:avLst/>
              <a:gdLst>
                <a:gd name="T0" fmla="*/ 91 w 93"/>
                <a:gd name="T1" fmla="*/ 0 h 178"/>
                <a:gd name="T2" fmla="*/ 91 w 93"/>
                <a:gd name="T3" fmla="*/ 32 h 178"/>
                <a:gd name="T4" fmla="*/ 36 w 93"/>
                <a:gd name="T5" fmla="*/ 32 h 178"/>
                <a:gd name="T6" fmla="*/ 36 w 93"/>
                <a:gd name="T7" fmla="*/ 71 h 178"/>
                <a:gd name="T8" fmla="*/ 82 w 93"/>
                <a:gd name="T9" fmla="*/ 71 h 178"/>
                <a:gd name="T10" fmla="*/ 82 w 93"/>
                <a:gd name="T11" fmla="*/ 103 h 178"/>
                <a:gd name="T12" fmla="*/ 36 w 93"/>
                <a:gd name="T13" fmla="*/ 103 h 178"/>
                <a:gd name="T14" fmla="*/ 36 w 93"/>
                <a:gd name="T15" fmla="*/ 145 h 178"/>
                <a:gd name="T16" fmla="*/ 93 w 93"/>
                <a:gd name="T17" fmla="*/ 145 h 178"/>
                <a:gd name="T18" fmla="*/ 93 w 93"/>
                <a:gd name="T19" fmla="*/ 178 h 178"/>
                <a:gd name="T20" fmla="*/ 0 w 93"/>
                <a:gd name="T21" fmla="*/ 178 h 178"/>
                <a:gd name="T22" fmla="*/ 0 w 93"/>
                <a:gd name="T23" fmla="*/ 0 h 178"/>
                <a:gd name="T24" fmla="*/ 91 w 93"/>
                <a:gd name="T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178">
                  <a:moveTo>
                    <a:pt x="91" y="0"/>
                  </a:moveTo>
                  <a:lnTo>
                    <a:pt x="91" y="32"/>
                  </a:lnTo>
                  <a:lnTo>
                    <a:pt x="36" y="32"/>
                  </a:lnTo>
                  <a:lnTo>
                    <a:pt x="36" y="71"/>
                  </a:lnTo>
                  <a:lnTo>
                    <a:pt x="82" y="71"/>
                  </a:lnTo>
                  <a:lnTo>
                    <a:pt x="82" y="103"/>
                  </a:lnTo>
                  <a:lnTo>
                    <a:pt x="36" y="103"/>
                  </a:lnTo>
                  <a:lnTo>
                    <a:pt x="36" y="145"/>
                  </a:lnTo>
                  <a:lnTo>
                    <a:pt x="93" y="145"/>
                  </a:lnTo>
                  <a:lnTo>
                    <a:pt x="9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592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288926" y="452438"/>
              <a:ext cx="173037" cy="371475"/>
            </a:xfrm>
            <a:custGeom>
              <a:avLst/>
              <a:gdLst>
                <a:gd name="T0" fmla="*/ 17 w 109"/>
                <a:gd name="T1" fmla="*/ 0 h 234"/>
                <a:gd name="T2" fmla="*/ 17 w 109"/>
                <a:gd name="T3" fmla="*/ 218 h 234"/>
                <a:gd name="T4" fmla="*/ 109 w 109"/>
                <a:gd name="T5" fmla="*/ 218 h 234"/>
                <a:gd name="T6" fmla="*/ 109 w 109"/>
                <a:gd name="T7" fmla="*/ 234 h 234"/>
                <a:gd name="T8" fmla="*/ 0 w 109"/>
                <a:gd name="T9" fmla="*/ 234 h 234"/>
                <a:gd name="T10" fmla="*/ 0 w 109"/>
                <a:gd name="T11" fmla="*/ 0 h 234"/>
                <a:gd name="T12" fmla="*/ 17 w 109"/>
                <a:gd name="T13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234">
                  <a:moveTo>
                    <a:pt x="17" y="0"/>
                  </a:moveTo>
                  <a:lnTo>
                    <a:pt x="17" y="218"/>
                  </a:lnTo>
                  <a:lnTo>
                    <a:pt x="109" y="218"/>
                  </a:lnTo>
                  <a:lnTo>
                    <a:pt x="109" y="234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8"/>
            <p:cNvSpPr>
              <a:spLocks noEditPoints="1"/>
            </p:cNvSpPr>
            <p:nvPr userDrawn="1"/>
          </p:nvSpPr>
          <p:spPr bwMode="auto">
            <a:xfrm>
              <a:off x="482600" y="541338"/>
              <a:ext cx="207962" cy="287338"/>
            </a:xfrm>
            <a:custGeom>
              <a:avLst/>
              <a:gdLst>
                <a:gd name="T0" fmla="*/ 54 w 107"/>
                <a:gd name="T1" fmla="*/ 55 h 147"/>
                <a:gd name="T2" fmla="*/ 94 w 107"/>
                <a:gd name="T3" fmla="*/ 70 h 147"/>
                <a:gd name="T4" fmla="*/ 94 w 107"/>
                <a:gd name="T5" fmla="*/ 49 h 147"/>
                <a:gd name="T6" fmla="*/ 55 w 107"/>
                <a:gd name="T7" fmla="*/ 13 h 147"/>
                <a:gd name="T8" fmla="*/ 12 w 107"/>
                <a:gd name="T9" fmla="*/ 26 h 147"/>
                <a:gd name="T10" fmla="*/ 7 w 107"/>
                <a:gd name="T11" fmla="*/ 15 h 147"/>
                <a:gd name="T12" fmla="*/ 56 w 107"/>
                <a:gd name="T13" fmla="*/ 0 h 147"/>
                <a:gd name="T14" fmla="*/ 107 w 107"/>
                <a:gd name="T15" fmla="*/ 50 h 147"/>
                <a:gd name="T16" fmla="*/ 107 w 107"/>
                <a:gd name="T17" fmla="*/ 144 h 147"/>
                <a:gd name="T18" fmla="*/ 96 w 107"/>
                <a:gd name="T19" fmla="*/ 144 h 147"/>
                <a:gd name="T20" fmla="*/ 94 w 107"/>
                <a:gd name="T21" fmla="*/ 131 h 147"/>
                <a:gd name="T22" fmla="*/ 54 w 107"/>
                <a:gd name="T23" fmla="*/ 147 h 147"/>
                <a:gd name="T24" fmla="*/ 0 w 107"/>
                <a:gd name="T25" fmla="*/ 101 h 147"/>
                <a:gd name="T26" fmla="*/ 54 w 107"/>
                <a:gd name="T27" fmla="*/ 55 h 147"/>
                <a:gd name="T28" fmla="*/ 54 w 107"/>
                <a:gd name="T29" fmla="*/ 135 h 147"/>
                <a:gd name="T30" fmla="*/ 94 w 107"/>
                <a:gd name="T31" fmla="*/ 101 h 147"/>
                <a:gd name="T32" fmla="*/ 54 w 107"/>
                <a:gd name="T33" fmla="*/ 68 h 147"/>
                <a:gd name="T34" fmla="*/ 14 w 107"/>
                <a:gd name="T35" fmla="*/ 101 h 147"/>
                <a:gd name="T36" fmla="*/ 54 w 107"/>
                <a:gd name="T37" fmla="*/ 1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47">
                  <a:moveTo>
                    <a:pt x="54" y="55"/>
                  </a:moveTo>
                  <a:cubicBezTo>
                    <a:pt x="73" y="55"/>
                    <a:pt x="87" y="63"/>
                    <a:pt x="94" y="7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26"/>
                    <a:pt x="78" y="13"/>
                    <a:pt x="55" y="13"/>
                  </a:cubicBezTo>
                  <a:cubicBezTo>
                    <a:pt x="37" y="13"/>
                    <a:pt x="22" y="20"/>
                    <a:pt x="12" y="2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14" y="10"/>
                    <a:pt x="33" y="0"/>
                    <a:pt x="56" y="0"/>
                  </a:cubicBezTo>
                  <a:cubicBezTo>
                    <a:pt x="91" y="0"/>
                    <a:pt x="107" y="21"/>
                    <a:pt x="107" y="50"/>
                  </a:cubicBezTo>
                  <a:cubicBezTo>
                    <a:pt x="107" y="144"/>
                    <a:pt x="107" y="144"/>
                    <a:pt x="107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86" y="139"/>
                    <a:pt x="74" y="147"/>
                    <a:pt x="54" y="147"/>
                  </a:cubicBezTo>
                  <a:cubicBezTo>
                    <a:pt x="22" y="147"/>
                    <a:pt x="0" y="127"/>
                    <a:pt x="0" y="101"/>
                  </a:cubicBezTo>
                  <a:cubicBezTo>
                    <a:pt x="0" y="75"/>
                    <a:pt x="23" y="55"/>
                    <a:pt x="54" y="55"/>
                  </a:cubicBezTo>
                  <a:close/>
                  <a:moveTo>
                    <a:pt x="54" y="135"/>
                  </a:moveTo>
                  <a:cubicBezTo>
                    <a:pt x="78" y="135"/>
                    <a:pt x="94" y="120"/>
                    <a:pt x="94" y="101"/>
                  </a:cubicBezTo>
                  <a:cubicBezTo>
                    <a:pt x="94" y="81"/>
                    <a:pt x="79" y="68"/>
                    <a:pt x="54" y="68"/>
                  </a:cubicBezTo>
                  <a:cubicBezTo>
                    <a:pt x="29" y="68"/>
                    <a:pt x="14" y="82"/>
                    <a:pt x="14" y="101"/>
                  </a:cubicBezTo>
                  <a:cubicBezTo>
                    <a:pt x="14" y="119"/>
                    <a:pt x="29" y="135"/>
                    <a:pt x="54" y="1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9"/>
            <p:cNvSpPr>
              <a:spLocks/>
            </p:cNvSpPr>
            <p:nvPr userDrawn="1"/>
          </p:nvSpPr>
          <p:spPr bwMode="auto">
            <a:xfrm>
              <a:off x="1150938" y="727076"/>
              <a:ext cx="82550" cy="73025"/>
            </a:xfrm>
            <a:custGeom>
              <a:avLst/>
              <a:gdLst>
                <a:gd name="T0" fmla="*/ 10 w 43"/>
                <a:gd name="T1" fmla="*/ 11 h 37"/>
                <a:gd name="T2" fmla="*/ 10 w 43"/>
                <a:gd name="T3" fmla="*/ 11 h 37"/>
                <a:gd name="T4" fmla="*/ 0 w 43"/>
                <a:gd name="T5" fmla="*/ 25 h 37"/>
                <a:gd name="T6" fmla="*/ 33 w 43"/>
                <a:gd name="T7" fmla="*/ 37 h 37"/>
                <a:gd name="T8" fmla="*/ 39 w 43"/>
                <a:gd name="T9" fmla="*/ 26 h 37"/>
                <a:gd name="T10" fmla="*/ 39 w 43"/>
                <a:gd name="T11" fmla="*/ 26 h 37"/>
                <a:gd name="T12" fmla="*/ 33 w 43"/>
                <a:gd name="T13" fmla="*/ 5 h 37"/>
                <a:gd name="T14" fmla="*/ 10 w 43"/>
                <a:gd name="T15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37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7" y="16"/>
                    <a:pt x="4" y="21"/>
                    <a:pt x="0" y="25"/>
                  </a:cubicBezTo>
                  <a:cubicBezTo>
                    <a:pt x="9" y="32"/>
                    <a:pt x="20" y="36"/>
                    <a:pt x="33" y="37"/>
                  </a:cubicBezTo>
                  <a:cubicBezTo>
                    <a:pt x="35" y="33"/>
                    <a:pt x="37" y="30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3" y="18"/>
                    <a:pt x="40" y="9"/>
                    <a:pt x="33" y="5"/>
                  </a:cubicBezTo>
                  <a:cubicBezTo>
                    <a:pt x="25" y="0"/>
                    <a:pt x="15" y="3"/>
                    <a:pt x="10" y="11"/>
                  </a:cubicBezTo>
                  <a:close/>
                </a:path>
              </a:pathLst>
            </a:custGeom>
            <a:solidFill>
              <a:srgbClr val="B34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20"/>
            <p:cNvSpPr>
              <a:spLocks/>
            </p:cNvSpPr>
            <p:nvPr userDrawn="1"/>
          </p:nvSpPr>
          <p:spPr bwMode="auto">
            <a:xfrm>
              <a:off x="865188" y="493713"/>
              <a:ext cx="358775" cy="388938"/>
            </a:xfrm>
            <a:custGeom>
              <a:avLst/>
              <a:gdLst>
                <a:gd name="T0" fmla="*/ 96 w 185"/>
                <a:gd name="T1" fmla="*/ 165 h 198"/>
                <a:gd name="T2" fmla="*/ 33 w 185"/>
                <a:gd name="T3" fmla="*/ 99 h 198"/>
                <a:gd name="T4" fmla="*/ 99 w 185"/>
                <a:gd name="T5" fmla="*/ 33 h 198"/>
                <a:gd name="T6" fmla="*/ 153 w 185"/>
                <a:gd name="T7" fmla="*/ 61 h 198"/>
                <a:gd name="T8" fmla="*/ 175 w 185"/>
                <a:gd name="T9" fmla="*/ 66 h 198"/>
                <a:gd name="T10" fmla="*/ 181 w 185"/>
                <a:gd name="T11" fmla="*/ 43 h 198"/>
                <a:gd name="T12" fmla="*/ 181 w 185"/>
                <a:gd name="T13" fmla="*/ 43 h 198"/>
                <a:gd name="T14" fmla="*/ 99 w 185"/>
                <a:gd name="T15" fmla="*/ 0 h 198"/>
                <a:gd name="T16" fmla="*/ 0 w 185"/>
                <a:gd name="T17" fmla="*/ 99 h 198"/>
                <a:gd name="T18" fmla="*/ 99 w 185"/>
                <a:gd name="T19" fmla="*/ 198 h 198"/>
                <a:gd name="T20" fmla="*/ 129 w 185"/>
                <a:gd name="T21" fmla="*/ 193 h 198"/>
                <a:gd name="T22" fmla="*/ 96 w 185"/>
                <a:gd name="T23" fmla="*/ 16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5" h="198">
                  <a:moveTo>
                    <a:pt x="96" y="165"/>
                  </a:moveTo>
                  <a:cubicBezTo>
                    <a:pt x="61" y="163"/>
                    <a:pt x="33" y="134"/>
                    <a:pt x="33" y="99"/>
                  </a:cubicBezTo>
                  <a:cubicBezTo>
                    <a:pt x="33" y="62"/>
                    <a:pt x="62" y="33"/>
                    <a:pt x="99" y="33"/>
                  </a:cubicBezTo>
                  <a:cubicBezTo>
                    <a:pt x="121" y="33"/>
                    <a:pt x="141" y="44"/>
                    <a:pt x="153" y="61"/>
                  </a:cubicBezTo>
                  <a:cubicBezTo>
                    <a:pt x="158" y="68"/>
                    <a:pt x="167" y="70"/>
                    <a:pt x="175" y="66"/>
                  </a:cubicBezTo>
                  <a:cubicBezTo>
                    <a:pt x="183" y="62"/>
                    <a:pt x="185" y="51"/>
                    <a:pt x="181" y="43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3" y="17"/>
                    <a:pt x="133" y="0"/>
                    <a:pt x="99" y="0"/>
                  </a:cubicBezTo>
                  <a:cubicBezTo>
                    <a:pt x="44" y="0"/>
                    <a:pt x="0" y="44"/>
                    <a:pt x="0" y="99"/>
                  </a:cubicBezTo>
                  <a:cubicBezTo>
                    <a:pt x="0" y="153"/>
                    <a:pt x="44" y="198"/>
                    <a:pt x="99" y="198"/>
                  </a:cubicBezTo>
                  <a:cubicBezTo>
                    <a:pt x="109" y="198"/>
                    <a:pt x="119" y="196"/>
                    <a:pt x="129" y="193"/>
                  </a:cubicBezTo>
                  <a:cubicBezTo>
                    <a:pt x="116" y="186"/>
                    <a:pt x="105" y="176"/>
                    <a:pt x="96" y="165"/>
                  </a:cubicBezTo>
                  <a:close/>
                </a:path>
              </a:pathLst>
            </a:custGeom>
            <a:solidFill>
              <a:srgbClr val="B34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21"/>
            <p:cNvSpPr>
              <a:spLocks/>
            </p:cNvSpPr>
            <p:nvPr userDrawn="1"/>
          </p:nvSpPr>
          <p:spPr bwMode="auto">
            <a:xfrm>
              <a:off x="1023938" y="493713"/>
              <a:ext cx="387350" cy="388938"/>
            </a:xfrm>
            <a:custGeom>
              <a:avLst/>
              <a:gdLst>
                <a:gd name="T0" fmla="*/ 100 w 199"/>
                <a:gd name="T1" fmla="*/ 0 h 198"/>
                <a:gd name="T2" fmla="*/ 69 w 199"/>
                <a:gd name="T3" fmla="*/ 4 h 198"/>
                <a:gd name="T4" fmla="*/ 102 w 199"/>
                <a:gd name="T5" fmla="*/ 33 h 198"/>
                <a:gd name="T6" fmla="*/ 165 w 199"/>
                <a:gd name="T7" fmla="*/ 99 h 198"/>
                <a:gd name="T8" fmla="*/ 100 w 199"/>
                <a:gd name="T9" fmla="*/ 165 h 198"/>
                <a:gd name="T10" fmla="*/ 34 w 199"/>
                <a:gd name="T11" fmla="*/ 99 h 198"/>
                <a:gd name="T12" fmla="*/ 51 w 199"/>
                <a:gd name="T13" fmla="*/ 54 h 198"/>
                <a:gd name="T14" fmla="*/ 19 w 199"/>
                <a:gd name="T15" fmla="*/ 42 h 198"/>
                <a:gd name="T16" fmla="*/ 0 w 199"/>
                <a:gd name="T17" fmla="*/ 99 h 198"/>
                <a:gd name="T18" fmla="*/ 100 w 199"/>
                <a:gd name="T19" fmla="*/ 198 h 198"/>
                <a:gd name="T20" fmla="*/ 199 w 199"/>
                <a:gd name="T21" fmla="*/ 99 h 198"/>
                <a:gd name="T22" fmla="*/ 100 w 199"/>
                <a:gd name="T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9" h="198">
                  <a:moveTo>
                    <a:pt x="100" y="0"/>
                  </a:moveTo>
                  <a:cubicBezTo>
                    <a:pt x="89" y="0"/>
                    <a:pt x="79" y="1"/>
                    <a:pt x="69" y="4"/>
                  </a:cubicBezTo>
                  <a:cubicBezTo>
                    <a:pt x="82" y="12"/>
                    <a:pt x="93" y="21"/>
                    <a:pt x="102" y="33"/>
                  </a:cubicBezTo>
                  <a:cubicBezTo>
                    <a:pt x="137" y="34"/>
                    <a:pt x="165" y="63"/>
                    <a:pt x="165" y="99"/>
                  </a:cubicBezTo>
                  <a:cubicBezTo>
                    <a:pt x="165" y="135"/>
                    <a:pt x="136" y="165"/>
                    <a:pt x="100" y="165"/>
                  </a:cubicBezTo>
                  <a:cubicBezTo>
                    <a:pt x="63" y="165"/>
                    <a:pt x="34" y="135"/>
                    <a:pt x="34" y="99"/>
                  </a:cubicBezTo>
                  <a:cubicBezTo>
                    <a:pt x="34" y="81"/>
                    <a:pt x="40" y="65"/>
                    <a:pt x="51" y="54"/>
                  </a:cubicBezTo>
                  <a:cubicBezTo>
                    <a:pt x="42" y="47"/>
                    <a:pt x="31" y="42"/>
                    <a:pt x="19" y="42"/>
                  </a:cubicBezTo>
                  <a:cubicBezTo>
                    <a:pt x="7" y="58"/>
                    <a:pt x="0" y="78"/>
                    <a:pt x="0" y="99"/>
                  </a:cubicBezTo>
                  <a:cubicBezTo>
                    <a:pt x="0" y="153"/>
                    <a:pt x="45" y="198"/>
                    <a:pt x="100" y="198"/>
                  </a:cubicBezTo>
                  <a:cubicBezTo>
                    <a:pt x="154" y="198"/>
                    <a:pt x="199" y="153"/>
                    <a:pt x="199" y="99"/>
                  </a:cubicBezTo>
                  <a:cubicBezTo>
                    <a:pt x="199" y="44"/>
                    <a:pt x="154" y="0"/>
                    <a:pt x="100" y="0"/>
                  </a:cubicBezTo>
                  <a:close/>
                </a:path>
              </a:pathLst>
            </a:custGeom>
            <a:solidFill>
              <a:srgbClr val="592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760" y="4595587"/>
            <a:ext cx="1725231" cy="28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7266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1673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51161-68AA-1E50-4062-338F06187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AFBDDA-884C-43B2-E272-89AAEB4C8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78B411-6CD6-AFF6-47EE-0B161C760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821B2-CCDA-400C-A5BE-FBBBF1AEEE56}" type="datetimeFigureOut">
              <a:rPr lang="en-US" smtClean="0"/>
              <a:t>6/3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E66E7C-CB4B-58F9-9B80-97320EA21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9CF75-B169-A795-4719-FAC813BA9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ED37F-C7DB-45DB-B277-2D22533FBC2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637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678613" y="974702"/>
            <a:ext cx="2361600" cy="25968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974702"/>
            <a:ext cx="2361600" cy="25968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6259517" y="1020762"/>
            <a:ext cx="2884487" cy="3335735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35182463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1079504" y="3370110"/>
            <a:ext cx="2592389" cy="1425086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974702"/>
            <a:ext cx="2361600" cy="21811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3671893" y="1020763"/>
            <a:ext cx="5194295" cy="3774434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2549640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499" y="1020763"/>
            <a:ext cx="7786687" cy="3774434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6273800" y="2593875"/>
            <a:ext cx="2592387" cy="1758745"/>
          </a:xfrm>
          <a:solidFill>
            <a:srgbClr val="EAEAEA"/>
          </a:solidFill>
        </p:spPr>
        <p:txBody>
          <a:bodyPr lIns="180000" tIns="180000" rIns="180000" bIns="180000">
            <a:noAutofit/>
          </a:bodyPr>
          <a:lstStyle>
            <a:lvl1pPr>
              <a:spcBef>
                <a:spcPts val="0"/>
              </a:spcBef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714426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hiffres clé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500" y="333375"/>
            <a:ext cx="7780544" cy="446182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851647" y="221878"/>
            <a:ext cx="152400" cy="6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3838" y="2262600"/>
            <a:ext cx="1712349" cy="1764378"/>
          </a:xfrm>
          <a:solidFill>
            <a:srgbClr val="EAEAEA"/>
          </a:solidFill>
        </p:spPr>
        <p:txBody>
          <a:bodyPr lIns="180000" tIns="108000" rIns="180000" bIns="108000" anchor="ctr" anchorCtr="1">
            <a:noAutofit/>
          </a:bodyPr>
          <a:lstStyle>
            <a:lvl1pPr>
              <a:spcBef>
                <a:spcPts val="900"/>
              </a:spcBef>
              <a:defRPr sz="3200">
                <a:solidFill>
                  <a:schemeClr val="accent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35452201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hiffres clé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51647" y="221878"/>
            <a:ext cx="152400" cy="6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287338" y="333375"/>
            <a:ext cx="8572706" cy="446182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3839" y="2262600"/>
            <a:ext cx="1712348" cy="1764378"/>
          </a:xfrm>
          <a:solidFill>
            <a:srgbClr val="EAEAEA"/>
          </a:solidFill>
        </p:spPr>
        <p:txBody>
          <a:bodyPr lIns="180000" tIns="108000" rIns="180000" bIns="108000" anchor="ctr" anchorCtr="1">
            <a:noAutofit/>
          </a:bodyPr>
          <a:lstStyle>
            <a:lvl1pPr>
              <a:spcBef>
                <a:spcPts val="900"/>
              </a:spcBef>
              <a:defRPr sz="3200">
                <a:solidFill>
                  <a:schemeClr val="accent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24082681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exergue +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3949204" y="2141102"/>
            <a:ext cx="4910843" cy="21811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499" y="1020763"/>
            <a:ext cx="2592000" cy="333531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3160800" y="1385100"/>
            <a:ext cx="3096000" cy="545516"/>
          </a:xfrm>
          <a:solidFill>
            <a:srgbClr val="EAEAEA"/>
          </a:solidFill>
        </p:spPr>
        <p:txBody>
          <a:bodyPr lIns="144000" tIns="72000" rIns="144000" bIns="72000">
            <a:spAutoFit/>
          </a:bodyPr>
          <a:lstStyle>
            <a:lvl1pPr>
              <a:defRPr sz="110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500" cap="all" baseline="0">
                <a:solidFill>
                  <a:schemeClr val="accent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Modifier les styles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67130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815788" y="1941874"/>
            <a:ext cx="5470712" cy="2440985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7125658" y="1941874"/>
            <a:ext cx="1734391" cy="627864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Bef>
                <a:spcPts val="900"/>
              </a:spcBef>
              <a:defRPr sz="3200">
                <a:solidFill>
                  <a:schemeClr val="accent3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1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1079503" y="1941872"/>
            <a:ext cx="5207001" cy="218547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2" y="4617001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499" y="975123"/>
            <a:ext cx="7780544" cy="75842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886753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499" y="975124"/>
            <a:ext cx="2358000" cy="326640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3906278" y="1320469"/>
            <a:ext cx="2127486" cy="2095285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6485268" y="916602"/>
            <a:ext cx="1734391" cy="658642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Bef>
                <a:spcPts val="900"/>
              </a:spcBef>
              <a:defRPr sz="3400">
                <a:solidFill>
                  <a:schemeClr val="accent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1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3906278" y="982743"/>
            <a:ext cx="2127486" cy="204016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2" y="4617001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810113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970001" y="1625401"/>
            <a:ext cx="3772545" cy="818686"/>
          </a:xfrm>
        </p:spPr>
        <p:txBody>
          <a:bodyPr anchor="t" anchorCtr="0">
            <a:spAutoFit/>
          </a:bodyPr>
          <a:lstStyle>
            <a:lvl1pPr algn="l">
              <a:lnSpc>
                <a:spcPct val="95000"/>
              </a:lnSpc>
              <a:defRPr sz="2800" b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970001" y="3564305"/>
            <a:ext cx="3083858" cy="40011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 b="0">
                <a:solidFill>
                  <a:schemeClr val="bg2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67092" y="288954"/>
            <a:ext cx="1764000" cy="454913"/>
          </a:xfrm>
          <a:prstGeom prst="rect">
            <a:avLst/>
          </a:prstGeom>
        </p:spPr>
      </p:pic>
      <p:sp>
        <p:nvSpPr>
          <p:cNvPr id="13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36358" y="4737567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294936">
            <a:off x="-459677" y="1567878"/>
            <a:ext cx="3835157" cy="2005922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44371" y="4730683"/>
            <a:ext cx="1058400" cy="15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47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2" y="3528000"/>
            <a:ext cx="7780545" cy="8730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3783100" y="1253689"/>
            <a:ext cx="2365200" cy="2016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5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1079502" y="1253689"/>
            <a:ext cx="2366641" cy="2016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6" name="Espace réservé du graphique 3"/>
          <p:cNvSpPr>
            <a:spLocks noGrp="1"/>
          </p:cNvSpPr>
          <p:nvPr>
            <p:ph type="chart" sz="quarter" idx="17"/>
          </p:nvPr>
        </p:nvSpPr>
        <p:spPr>
          <a:xfrm>
            <a:off x="6485268" y="1253689"/>
            <a:ext cx="2366641" cy="2016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3" y="982800"/>
            <a:ext cx="7780543" cy="204016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>
          <a:xfrm>
            <a:off x="1079502" y="4617001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2936199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2" y="4617001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5"/>
          </p:nvPr>
        </p:nvSpPr>
        <p:spPr>
          <a:xfrm>
            <a:off x="1080000" y="975600"/>
            <a:ext cx="7776662" cy="3297011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2544666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2" y="4617001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5"/>
          </p:nvPr>
        </p:nvSpPr>
        <p:spPr>
          <a:xfrm>
            <a:off x="1080000" y="1211421"/>
            <a:ext cx="7776662" cy="1387888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815788" y="2854585"/>
            <a:ext cx="8040874" cy="1685334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1079503" y="982800"/>
            <a:ext cx="7780543" cy="204016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3" y="2797200"/>
            <a:ext cx="7780543" cy="204016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588132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ncadré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743365" y="1909938"/>
            <a:ext cx="2452808" cy="2634070"/>
          </a:xfrm>
          <a:solidFill>
            <a:srgbClr val="EAEAEA"/>
          </a:solidFill>
        </p:spPr>
        <p:txBody>
          <a:bodyPr lIns="180000" tIns="468000" rIns="180000"/>
          <a:lstStyle>
            <a:lvl1pPr algn="ctr">
              <a:spcBef>
                <a:spcPts val="400"/>
              </a:spcBef>
              <a:defRPr sz="10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6407235" y="1909938"/>
            <a:ext cx="2452808" cy="2634070"/>
          </a:xfrm>
          <a:solidFill>
            <a:srgbClr val="EAEAEA"/>
          </a:solidFill>
        </p:spPr>
        <p:txBody>
          <a:bodyPr lIns="180000" tIns="468000" rIns="180000"/>
          <a:lstStyle>
            <a:lvl1pPr algn="ctr">
              <a:spcBef>
                <a:spcPts val="400"/>
              </a:spcBef>
              <a:defRPr sz="10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1079499" y="1909938"/>
            <a:ext cx="2452808" cy="2634070"/>
          </a:xfrm>
          <a:solidFill>
            <a:srgbClr val="EAEAEA"/>
          </a:solidFill>
        </p:spPr>
        <p:txBody>
          <a:bodyPr lIns="180000" tIns="468000" rIns="180000"/>
          <a:lstStyle>
            <a:lvl1pPr algn="ctr">
              <a:spcBef>
                <a:spcPts val="400"/>
              </a:spcBef>
              <a:defRPr sz="10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3" y="982800"/>
            <a:ext cx="7780543" cy="204016"/>
          </a:xfrm>
        </p:spPr>
        <p:txBody>
          <a:bodyPr/>
          <a:lstStyle>
            <a:lvl1pPr>
              <a:defRPr sz="13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79502" y="1263232"/>
            <a:ext cx="2452805" cy="97200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2000" tIns="36000" rIns="72000" bIns="72000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0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6407243" y="1263232"/>
            <a:ext cx="2452805" cy="97200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2000" tIns="36000" rIns="72000" bIns="72000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0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 hasCustomPrompt="1"/>
          </p:nvPr>
        </p:nvSpPr>
        <p:spPr>
          <a:xfrm>
            <a:off x="3743372" y="1263232"/>
            <a:ext cx="2452805" cy="97200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2000" tIns="36000" rIns="72000" bIns="72000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0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6776397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/>
          <p:cNvSpPr>
            <a:spLocks noGrp="1"/>
          </p:cNvSpPr>
          <p:nvPr>
            <p:ph type="body" sz="quarter" idx="18" hasCustomPrompt="1"/>
          </p:nvPr>
        </p:nvSpPr>
        <p:spPr>
          <a:xfrm>
            <a:off x="3671893" y="1981596"/>
            <a:ext cx="2013491" cy="2430000"/>
          </a:xfrm>
          <a:prstGeom prst="rect">
            <a:avLst/>
          </a:prstGeom>
          <a:solidFill>
            <a:srgbClr val="EAEAEA"/>
          </a:solidFill>
        </p:spPr>
        <p:txBody>
          <a:bodyPr wrap="square" lIns="180000" tIns="72000" rIns="180000" bIns="324000" anchor="ctr" anchorCtr="0">
            <a:no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3200" b="1">
                <a:solidFill>
                  <a:schemeClr val="accent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buNone/>
              <a:defRPr sz="1100" b="0" cap="none" baseline="0">
                <a:solidFill>
                  <a:schemeClr val="tx1"/>
                </a:solidFill>
              </a:defRPr>
            </a:lvl2pPr>
            <a:lvl3pPr marL="0" indent="0" algn="l">
              <a:lnSpc>
                <a:spcPct val="85000"/>
              </a:lnSpc>
              <a:spcBef>
                <a:spcPts val="0"/>
              </a:spcBef>
              <a:buNone/>
              <a:defRPr sz="1000" b="0" cap="none" baseline="0">
                <a:solidFill>
                  <a:schemeClr val="tx1"/>
                </a:solidFill>
              </a:defRPr>
            </a:lvl3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5" hasCustomPrompt="1"/>
          </p:nvPr>
        </p:nvSpPr>
        <p:spPr>
          <a:xfrm>
            <a:off x="3671893" y="1020762"/>
            <a:ext cx="2013491" cy="136800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80000" tIns="72000" rIns="180000" bIns="324000" anchor="ctr" anchorCtr="0">
            <a:no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3200" b="1">
                <a:solidFill>
                  <a:schemeClr val="bg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buNone/>
              <a:defRPr sz="1100" b="0" cap="none" baseline="0">
                <a:solidFill>
                  <a:schemeClr val="bg1"/>
                </a:solidFill>
              </a:defRPr>
            </a:lvl2pPr>
            <a:lvl3pPr marL="0" indent="0" algn="l">
              <a:lnSpc>
                <a:spcPct val="85000"/>
              </a:lnSpc>
              <a:spcBef>
                <a:spcPts val="0"/>
              </a:spcBef>
              <a:buNone/>
              <a:defRPr sz="1000" b="0" cap="none" baseline="0">
                <a:solidFill>
                  <a:schemeClr val="bg1"/>
                </a:solidFill>
              </a:defRPr>
            </a:lvl3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>
          <a:xfrm>
            <a:off x="1080752" y="975600"/>
            <a:ext cx="2208163" cy="343599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7" name="Espace réservé du texte 3"/>
          <p:cNvSpPr>
            <a:spLocks noGrp="1"/>
          </p:cNvSpPr>
          <p:nvPr>
            <p:ph type="body" sz="quarter" idx="19" hasCustomPrompt="1"/>
          </p:nvPr>
        </p:nvSpPr>
        <p:spPr>
          <a:xfrm>
            <a:off x="6068362" y="918000"/>
            <a:ext cx="2797831" cy="658642"/>
          </a:xfrm>
        </p:spPr>
        <p:txBody>
          <a:bodyPr>
            <a:spAutoFit/>
          </a:bodyPr>
          <a:lstStyle>
            <a:lvl1pPr>
              <a:spcBef>
                <a:spcPts val="900"/>
              </a:spcBef>
              <a:defRPr sz="3400">
                <a:solidFill>
                  <a:schemeClr val="accent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1100" b="0" cap="all" baseline="0"/>
            </a:lvl2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693462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287338" y="329803"/>
            <a:ext cx="8578849" cy="4465391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080000" y="580440"/>
            <a:ext cx="7400612" cy="3571889"/>
          </a:xfrm>
        </p:spPr>
        <p:txBody>
          <a:bodyPr/>
          <a:lstStyle>
            <a:lvl1pPr>
              <a:defRPr sz="1500" b="1" cap="all" baseline="0">
                <a:solidFill>
                  <a:schemeClr val="tx2"/>
                </a:solidFill>
              </a:defRPr>
            </a:lvl1pPr>
            <a:lvl2pPr marL="0" indent="0" algn="just">
              <a:lnSpc>
                <a:spcPct val="110000"/>
              </a:lnSpc>
              <a:spcBef>
                <a:spcPts val="600"/>
              </a:spcBef>
              <a:buNone/>
              <a:defRPr sz="9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2464833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k object 16"/>
          <p:cNvSpPr/>
          <p:nvPr userDrawn="1"/>
        </p:nvSpPr>
        <p:spPr>
          <a:xfrm>
            <a:off x="287338" y="329803"/>
            <a:ext cx="8578849" cy="4465391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665304" y="573648"/>
            <a:ext cx="2726690" cy="484748"/>
          </a:xfrm>
        </p:spPr>
        <p:txBody>
          <a:bodyPr>
            <a:spAutoFit/>
          </a:bodyPr>
          <a:lstStyle>
            <a:lvl1pPr>
              <a:defRPr sz="1300" b="1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None/>
              <a:defRPr sz="1100" b="0" cap="none">
                <a:solidFill>
                  <a:schemeClr val="tx1"/>
                </a:solidFill>
              </a:defRPr>
            </a:lvl2pPr>
            <a:lvl3pPr>
              <a:defRPr sz="1200" b="0" cap="none">
                <a:solidFill>
                  <a:schemeClr val="tx1"/>
                </a:solidFill>
              </a:defRPr>
            </a:lvl3pPr>
          </a:lstStyle>
          <a:p>
            <a:pPr lvl="0"/>
            <a:r>
              <a:rPr lang="fr-FR"/>
              <a:t>Modifier les styles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665304" y="3186000"/>
            <a:ext cx="2726690" cy="484748"/>
          </a:xfrm>
        </p:spPr>
        <p:txBody>
          <a:bodyPr>
            <a:spAutoFit/>
          </a:bodyPr>
          <a:lstStyle>
            <a:lvl1pPr>
              <a:defRPr sz="1300" b="1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None/>
              <a:defRPr sz="1100" b="0" cap="none">
                <a:solidFill>
                  <a:schemeClr val="tx1"/>
                </a:solidFill>
              </a:defRPr>
            </a:lvl2pPr>
            <a:lvl3pPr>
              <a:defRPr sz="1200" b="0" cap="none">
                <a:solidFill>
                  <a:schemeClr val="tx1"/>
                </a:solidFill>
              </a:defRPr>
            </a:lvl3pPr>
          </a:lstStyle>
          <a:p>
            <a:pPr lvl="0"/>
            <a:r>
              <a:rPr lang="fr-FR"/>
              <a:t>Modifier les styles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ZoneTexte 3"/>
          <p:cNvSpPr txBox="1"/>
          <p:nvPr userDrawn="1"/>
        </p:nvSpPr>
        <p:spPr>
          <a:xfrm>
            <a:off x="1067305" y="531079"/>
            <a:ext cx="22501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800" b="1">
                <a:solidFill>
                  <a:schemeClr val="bg2"/>
                </a:solidFill>
              </a:rPr>
              <a:t>CONTACT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477" y="4300837"/>
            <a:ext cx="840000" cy="25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2423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DCEB38BE-58B5-B8EF-160B-03556F2E1F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35896" y="0"/>
            <a:ext cx="5508104" cy="51641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864000" y="1851672"/>
            <a:ext cx="4896544" cy="11597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u document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64000" y="3031411"/>
            <a:ext cx="489654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 i="0" cap="none" baseline="0">
                <a:solidFill>
                  <a:schemeClr val="tx1"/>
                </a:solidFill>
                <a:effectLst/>
                <a:latin typeface="Montserrat" pitchFamily="2" charset="77"/>
              </a:defRPr>
            </a:lvl1pPr>
            <a:lvl2pPr marL="457178" indent="0">
              <a:buNone/>
              <a:defRPr sz="1200" b="0">
                <a:solidFill>
                  <a:schemeClr val="bg1"/>
                </a:solidFill>
              </a:defRPr>
            </a:lvl2pPr>
            <a:lvl3pPr marL="914355" indent="0">
              <a:buNone/>
              <a:defRPr sz="1200" b="0">
                <a:solidFill>
                  <a:schemeClr val="bg1"/>
                </a:solidFill>
              </a:defRPr>
            </a:lvl3pPr>
            <a:lvl4pPr marL="1371532" indent="0">
              <a:buNone/>
              <a:defRPr sz="1200" b="0">
                <a:solidFill>
                  <a:schemeClr val="bg1"/>
                </a:solidFill>
              </a:defRPr>
            </a:lvl4pPr>
            <a:lvl5pPr marL="1828709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 du document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 rot="16200000">
            <a:off x="-966508" y="2510250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7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>
              <a:buNone/>
              <a:defRPr sz="1200" b="0">
                <a:solidFill>
                  <a:schemeClr val="bg1"/>
                </a:solidFill>
              </a:defRPr>
            </a:lvl2pPr>
            <a:lvl3pPr marL="914355" indent="0">
              <a:buNone/>
              <a:defRPr sz="1200" b="0">
                <a:solidFill>
                  <a:schemeClr val="bg1"/>
                </a:solidFill>
              </a:defRPr>
            </a:lvl3pPr>
            <a:lvl4pPr marL="1371532" indent="0">
              <a:buNone/>
              <a:defRPr sz="1200" b="0">
                <a:solidFill>
                  <a:schemeClr val="bg1"/>
                </a:solidFill>
              </a:defRPr>
            </a:lvl4pPr>
            <a:lvl5pPr marL="1828709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FCDE6B0-CC9E-FE87-0877-5474C2D00B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4" y="4566154"/>
            <a:ext cx="1901692" cy="31720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782E745-995F-64B8-6568-5FFF74FCE7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08751" y="328988"/>
            <a:ext cx="3005966" cy="81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8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9500" y="194655"/>
            <a:ext cx="7065963" cy="27875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fr-FR" sz="1800" b="1" kern="1200" baseline="0" dirty="0">
                <a:solidFill>
                  <a:srgbClr val="581D74"/>
                </a:solidFill>
                <a:latin typeface="Arial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57F1918-95DD-CCED-7C72-F7EB922586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9500" y="512321"/>
            <a:ext cx="7065963" cy="194449"/>
          </a:xfrm>
        </p:spPr>
        <p:txBody>
          <a:bodyPr/>
          <a:lstStyle>
            <a:lvl1pPr>
              <a:defRPr lang="fr-FR" sz="1200" b="0" kern="1200" baseline="0" dirty="0" smtClean="0">
                <a:solidFill>
                  <a:srgbClr val="75408C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227285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2">
            <a:extLst>
              <a:ext uri="{FF2B5EF4-FFF2-40B4-BE49-F238E27FC236}">
                <a16:creationId xmlns:a16="http://schemas.microsoft.com/office/drawing/2014/main" id="{D6709097-A352-569A-B35E-39B7FEFA7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257" y="134386"/>
            <a:ext cx="1197428" cy="46356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DFBEC56-BD08-7440-B367-054CCC2DBFD1}"/>
              </a:ext>
            </a:extLst>
          </p:cNvPr>
          <p:cNvSpPr/>
          <p:nvPr userDrawn="1"/>
        </p:nvSpPr>
        <p:spPr>
          <a:xfrm rot="5400000">
            <a:off x="-1445904" y="1445904"/>
            <a:ext cx="3003798" cy="111990"/>
          </a:xfrm>
          <a:prstGeom prst="rect">
            <a:avLst/>
          </a:prstGeom>
          <a:solidFill>
            <a:srgbClr val="582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1">
              <a:latin typeface="Arial (En-têtes)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394FDD-86D8-A9F0-31BC-BBDA9BC0E8DB}"/>
              </a:ext>
            </a:extLst>
          </p:cNvPr>
          <p:cNvSpPr/>
          <p:nvPr userDrawn="1"/>
        </p:nvSpPr>
        <p:spPr>
          <a:xfrm rot="5400000">
            <a:off x="-617812" y="4413698"/>
            <a:ext cx="1347614" cy="111990"/>
          </a:xfrm>
          <a:prstGeom prst="rect">
            <a:avLst/>
          </a:prstGeom>
          <a:solidFill>
            <a:srgbClr val="B34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1">
              <a:latin typeface="Arial (En-têtes)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ABD9DA4-265D-394B-4175-9712F7491F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40" y="230938"/>
            <a:ext cx="3009189" cy="618711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A0B3BB3-23AA-74DF-0CC5-429397E8669C}"/>
              </a:ext>
            </a:extLst>
          </p:cNvPr>
          <p:cNvPicPr/>
          <p:nvPr userDrawn="1"/>
        </p:nvPicPr>
        <p:blipFill rotWithShape="1">
          <a:blip r:embed="rId4"/>
          <a:srcRect r="16360" b="16635"/>
          <a:stretch/>
        </p:blipFill>
        <p:spPr>
          <a:xfrm>
            <a:off x="4498128" y="1877775"/>
            <a:ext cx="4645872" cy="32657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  <p:sp>
        <p:nvSpPr>
          <p:cNvPr id="8" name="Espace réservé du texte 18">
            <a:extLst>
              <a:ext uri="{FF2B5EF4-FFF2-40B4-BE49-F238E27FC236}">
                <a16:creationId xmlns:a16="http://schemas.microsoft.com/office/drawing/2014/main" id="{28C529F8-14E7-C8D9-40B8-0B75E4E956BD}"/>
              </a:ext>
            </a:extLst>
          </p:cNvPr>
          <p:cNvSpPr txBox="1">
            <a:spLocks/>
          </p:cNvSpPr>
          <p:nvPr userDrawn="1"/>
        </p:nvSpPr>
        <p:spPr>
          <a:xfrm>
            <a:off x="3275856" y="3291830"/>
            <a:ext cx="3305004" cy="391800"/>
          </a:xfrm>
          <a:prstGeom prst="roundRect">
            <a:avLst>
              <a:gd name="adj" fmla="val 50000"/>
            </a:avLst>
          </a:prstGeom>
          <a:solidFill>
            <a:srgbClr val="B44A8C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None/>
              <a:defRPr sz="1200" b="0" kern="120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None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8">
              <a:spcBef>
                <a:spcPts val="750"/>
              </a:spcBef>
              <a:buClr>
                <a:srgbClr val="B34A8C"/>
              </a:buClr>
              <a:defRPr/>
            </a:pPr>
            <a:endParaRPr lang="fr-FR" sz="2000">
              <a:solidFill>
                <a:srgbClr val="FFFFFF"/>
              </a:solidFill>
              <a:latin typeface="Arial (En-têtes)"/>
              <a:ea typeface="Roboto" panose="02000000000000000000" pitchFamily="2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F984D8E-9B36-EE06-775B-335EBF899D3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2655" y="923595"/>
            <a:ext cx="3553959" cy="3926128"/>
          </a:xfrm>
          <a:prstGeom prst="rect">
            <a:avLst/>
          </a:prstGeom>
        </p:spPr>
      </p:pic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2300489E-9637-40D3-6C8D-4F339E0452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4894" y="3291830"/>
            <a:ext cx="2625966" cy="391800"/>
          </a:xfrm>
          <a:prstGeom prst="rect">
            <a:avLst/>
          </a:prstGeom>
        </p:spPr>
        <p:txBody>
          <a:bodyPr anchor="ctr"/>
          <a:lstStyle>
            <a:lvl1pPr marL="0" marR="0" indent="0" algn="ctr" defTabSz="685808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B34A8C"/>
              </a:buClr>
              <a:buFont typeface="Cambria Math" panose="02040503050406030204" pitchFamily="18" charset="0"/>
              <a:buNone/>
              <a:defRPr lang="en-US" sz="2400" b="0" i="0" u="none" strike="noStrike" kern="1200" cap="none" dirty="0">
                <a:solidFill>
                  <a:srgbClr val="FFFFFF"/>
                </a:solidFill>
                <a:latin typeface="Arial (En-têtes)"/>
                <a:ea typeface="Roboto" panose="02000000000000000000" pitchFamily="2" charset="0"/>
                <a:cs typeface="Arial" panose="020B0604020202020204" pitchFamily="34" charset="0"/>
                <a:sym typeface="Arial"/>
              </a:defRPr>
            </a:lvl1pPr>
          </a:lstStyle>
          <a:p>
            <a:pPr defTabSz="685775">
              <a:defRPr/>
            </a:pPr>
            <a:r>
              <a:rPr lang="en-US" sz="2800">
                <a:solidFill>
                  <a:srgbClr val="FFFFFF"/>
                </a:solidFill>
                <a:latin typeface="Arial (En-têtes)"/>
                <a:ea typeface="Roboto" panose="02000000000000000000" pitchFamily="2" charset="0"/>
              </a:rPr>
              <a:t>subtitle</a:t>
            </a:r>
            <a:endParaRPr lang="en-US" sz="2800" b="0">
              <a:solidFill>
                <a:srgbClr val="B44A8C"/>
              </a:solidFill>
              <a:latin typeface="Arial (En-têtes)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0623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3" b="17146"/>
          <a:stretch>
            <a:fillRect/>
          </a:stretch>
        </p:blipFill>
        <p:spPr>
          <a:xfrm rot="8169872">
            <a:off x="-34538" y="-2431903"/>
            <a:ext cx="7483071" cy="5836473"/>
          </a:xfrm>
          <a:custGeom>
            <a:avLst/>
            <a:gdLst>
              <a:gd name="connsiteX0" fmla="*/ 6078681 w 7483071"/>
              <a:gd name="connsiteY0" fmla="*/ 5836473 h 5836473"/>
              <a:gd name="connsiteX1" fmla="*/ 0 w 7483071"/>
              <a:gd name="connsiteY1" fmla="*/ 0 h 5836473"/>
              <a:gd name="connsiteX2" fmla="*/ 7483071 w 7483071"/>
              <a:gd name="connsiteY2" fmla="*/ 0 h 5836473"/>
              <a:gd name="connsiteX3" fmla="*/ 7483071 w 7483071"/>
              <a:gd name="connsiteY3" fmla="*/ 4373802 h 583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3071" h="5836473">
                <a:moveTo>
                  <a:pt x="6078681" y="5836473"/>
                </a:moveTo>
                <a:lnTo>
                  <a:pt x="0" y="0"/>
                </a:lnTo>
                <a:lnTo>
                  <a:pt x="7483071" y="0"/>
                </a:lnTo>
                <a:lnTo>
                  <a:pt x="7483071" y="4373802"/>
                </a:lnTo>
                <a:close/>
              </a:path>
            </a:pathLst>
          </a:cu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68" t="33131" r="9946"/>
          <a:stretch>
            <a:fillRect/>
          </a:stretch>
        </p:blipFill>
        <p:spPr>
          <a:xfrm rot="6768274">
            <a:off x="2574894" y="-440820"/>
            <a:ext cx="7600888" cy="6798858"/>
          </a:xfrm>
          <a:custGeom>
            <a:avLst/>
            <a:gdLst>
              <a:gd name="connsiteX0" fmla="*/ 2020263 w 7600888"/>
              <a:gd name="connsiteY0" fmla="*/ 6798858 h 6798858"/>
              <a:gd name="connsiteX1" fmla="*/ 0 w 7600888"/>
              <a:gd name="connsiteY1" fmla="*/ 1993913 h 6798858"/>
              <a:gd name="connsiteX2" fmla="*/ 4742273 w 7600888"/>
              <a:gd name="connsiteY2" fmla="*/ 0 h 6798858"/>
              <a:gd name="connsiteX3" fmla="*/ 7600888 w 7600888"/>
              <a:gd name="connsiteY3" fmla="*/ 6798858 h 6798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00888" h="6798858">
                <a:moveTo>
                  <a:pt x="2020263" y="6798858"/>
                </a:moveTo>
                <a:lnTo>
                  <a:pt x="0" y="1993913"/>
                </a:lnTo>
                <a:lnTo>
                  <a:pt x="4742273" y="0"/>
                </a:lnTo>
                <a:lnTo>
                  <a:pt x="7600888" y="6798858"/>
                </a:lnTo>
                <a:close/>
              </a:path>
            </a:pathLst>
          </a:custGeom>
        </p:spPr>
      </p:pic>
      <p:sp>
        <p:nvSpPr>
          <p:cNvPr id="24" name="Rectangle 23"/>
          <p:cNvSpPr/>
          <p:nvPr userDrawn="1"/>
        </p:nvSpPr>
        <p:spPr bwMode="auto">
          <a:xfrm>
            <a:off x="576263" y="587831"/>
            <a:ext cx="7787294" cy="3920813"/>
          </a:xfrm>
          <a:prstGeom prst="rect">
            <a:avLst/>
          </a:prstGeom>
          <a:solidFill>
            <a:schemeClr val="bg1">
              <a:alpha val="88000"/>
            </a:schemeClr>
          </a:solidFill>
          <a:ln w="254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fr-FR" sz="1200" b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 userDrawn="1">
            <p:ph type="ctrTitle" hasCustomPrompt="1"/>
          </p:nvPr>
        </p:nvSpPr>
        <p:spPr>
          <a:xfrm>
            <a:off x="1080005" y="1627200"/>
            <a:ext cx="3772545" cy="818686"/>
          </a:xfrm>
        </p:spPr>
        <p:txBody>
          <a:bodyPr anchor="t" anchorCtr="0">
            <a:spAutoFit/>
          </a:bodyPr>
          <a:lstStyle>
            <a:lvl1pPr algn="l">
              <a:lnSpc>
                <a:spcPct val="95000"/>
              </a:lnSpc>
              <a:defRPr sz="2800" b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 userDrawn="1">
            <p:ph type="subTitle" idx="1"/>
          </p:nvPr>
        </p:nvSpPr>
        <p:spPr>
          <a:xfrm>
            <a:off x="1080000" y="3280711"/>
            <a:ext cx="3083858" cy="40011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 b="0">
                <a:solidFill>
                  <a:schemeClr val="bg2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pic>
        <p:nvPicPr>
          <p:cNvPr id="27" name="Imag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6377" y="760450"/>
            <a:ext cx="1764000" cy="454913"/>
          </a:xfrm>
          <a:prstGeom prst="rect">
            <a:avLst/>
          </a:prstGeom>
        </p:spPr>
      </p:pic>
      <p:sp>
        <p:nvSpPr>
          <p:cNvPr id="11" name="Espace réservé du texte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136358" y="4737567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2228" y="4730683"/>
            <a:ext cx="1058400" cy="15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7039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DCEB38BE-58B5-B8EF-160B-03556F2E1F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35896" y="0"/>
            <a:ext cx="5508104" cy="51641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864000" y="1851671"/>
            <a:ext cx="4896544" cy="11597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u document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64000" y="3031410"/>
            <a:ext cx="4896544" cy="249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 i="0" cap="none" baseline="0">
                <a:solidFill>
                  <a:schemeClr val="tx1"/>
                </a:solidFill>
                <a:effectLst/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 du document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 rot="16200000">
            <a:off x="-966508" y="2510250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7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FCDE6B0-CC9E-FE87-0877-5474C2D00B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4" y="4566153"/>
            <a:ext cx="1901692" cy="31720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782E745-995F-64B8-6568-5FFF74FCE7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08751" y="328987"/>
            <a:ext cx="3005966" cy="81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749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DCEB38BE-58B5-B8EF-160B-03556F2E1F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45" y="0"/>
            <a:ext cx="3276929" cy="51641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4067944" y="1991852"/>
            <a:ext cx="4536504" cy="11597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36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e partie</a:t>
            </a:r>
            <a:endParaRPr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87737E9-068F-A96B-3838-3F4586CA5C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83076" y="2067720"/>
            <a:ext cx="1296838" cy="1008062"/>
          </a:xfrm>
        </p:spPr>
        <p:txBody>
          <a:bodyPr anchor="ctr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fr-FR"/>
              <a:t>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67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864000" y="1525674"/>
            <a:ext cx="7523602" cy="11597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u document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64000" y="2705413"/>
            <a:ext cx="7523602" cy="249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 i="0" cap="none" baseline="0">
                <a:solidFill>
                  <a:schemeClr val="tx1"/>
                </a:solidFill>
                <a:effectLst/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 du document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 rot="16200000">
            <a:off x="-966508" y="2510250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7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4EC3BCD-B506-5838-901A-792CCB6F81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4" y="4566153"/>
            <a:ext cx="1901692" cy="31720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F404962-C481-4E2C-266E-882F35B539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08751" y="328987"/>
            <a:ext cx="3005966" cy="81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699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AABD2F-CE12-6AFB-0B02-BBB9A1A2FE6F}"/>
              </a:ext>
            </a:extLst>
          </p:cNvPr>
          <p:cNvSpPr/>
          <p:nvPr userDrawn="1"/>
        </p:nvSpPr>
        <p:spPr>
          <a:xfrm>
            <a:off x="3054194" y="227538"/>
            <a:ext cx="5838285" cy="44627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60253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</a:endParaRPr>
          </a:p>
        </p:txBody>
      </p:sp>
      <p:sp>
        <p:nvSpPr>
          <p:cNvPr id="27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995937" y="43737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995937" y="1137884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3995937" y="183838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3995937" y="2538894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995937" y="3239399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3995937" y="393990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52"/>
          <p:cNvSpPr>
            <a:spLocks noGrp="1"/>
          </p:cNvSpPr>
          <p:nvPr>
            <p:ph type="body" sz="quarter" idx="10" hasCustomPrompt="1"/>
          </p:nvPr>
        </p:nvSpPr>
        <p:spPr>
          <a:xfrm>
            <a:off x="3300737" y="45325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1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300737" y="1153764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tx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2</a:t>
            </a:r>
            <a:endParaRPr lang="fr-FR"/>
          </a:p>
        </p:txBody>
      </p:sp>
      <p:sp>
        <p:nvSpPr>
          <p:cNvPr id="30" name="Espace réservé du texte 52"/>
          <p:cNvSpPr>
            <a:spLocks noGrp="1"/>
          </p:cNvSpPr>
          <p:nvPr>
            <p:ph type="body" sz="quarter" idx="14" hasCustomPrompt="1"/>
          </p:nvPr>
        </p:nvSpPr>
        <p:spPr>
          <a:xfrm>
            <a:off x="3300737" y="185426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3</a:t>
            </a:r>
            <a:endParaRPr lang="fr-FR"/>
          </a:p>
        </p:txBody>
      </p:sp>
      <p:sp>
        <p:nvSpPr>
          <p:cNvPr id="32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3300737" y="255477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3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4</a:t>
            </a:r>
            <a:endParaRPr lang="fr-FR"/>
          </a:p>
        </p:txBody>
      </p:sp>
      <p:sp>
        <p:nvSpPr>
          <p:cNvPr id="34" name="Espace réservé du texte 52"/>
          <p:cNvSpPr>
            <a:spLocks noGrp="1"/>
          </p:cNvSpPr>
          <p:nvPr>
            <p:ph type="body" sz="quarter" idx="18" hasCustomPrompt="1"/>
          </p:nvPr>
        </p:nvSpPr>
        <p:spPr>
          <a:xfrm>
            <a:off x="3300737" y="3255279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4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5</a:t>
            </a:r>
            <a:endParaRPr lang="fr-FR"/>
          </a:p>
        </p:txBody>
      </p:sp>
      <p:sp>
        <p:nvSpPr>
          <p:cNvPr id="36" name="Espace réservé du texte 52"/>
          <p:cNvSpPr>
            <a:spLocks noGrp="1"/>
          </p:cNvSpPr>
          <p:nvPr>
            <p:ph type="body" sz="quarter" idx="20" hasCustomPrompt="1"/>
          </p:nvPr>
        </p:nvSpPr>
        <p:spPr>
          <a:xfrm>
            <a:off x="3300737" y="3955782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6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49BDC863-4516-8AC2-5699-E414819FB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7" y="2169876"/>
            <a:ext cx="2308999" cy="432000"/>
          </a:xfrm>
          <a:prstGeom prst="rect">
            <a:avLst/>
          </a:prstGeom>
        </p:spPr>
        <p:txBody>
          <a:bodyPr anchor="b"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4CF1581-1F17-B986-7A78-6770EF8AD61C}"/>
              </a:ext>
            </a:extLst>
          </p:cNvPr>
          <p:cNvCxnSpPr>
            <a:cxnSpLocks/>
          </p:cNvCxnSpPr>
          <p:nvPr userDrawn="1"/>
        </p:nvCxnSpPr>
        <p:spPr>
          <a:xfrm>
            <a:off x="1365623" y="264375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2">
            <a:extLst>
              <a:ext uri="{FF2B5EF4-FFF2-40B4-BE49-F238E27FC236}">
                <a16:creationId xmlns:a16="http://schemas.microsoft.com/office/drawing/2014/main" id="{83E0E408-4073-7808-F8D5-91270D8EB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48014" cy="63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453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719573" y="1131590"/>
            <a:ext cx="7704856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8357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A442B2D3-6EE1-8002-2F92-147D848DB91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412208" y="1276351"/>
            <a:ext cx="4319587" cy="2738438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E7B86C7-7E3C-B6E7-4933-E374D7CF41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457" y="1"/>
            <a:ext cx="950543" cy="36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9828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pour une image  28">
            <a:extLst>
              <a:ext uri="{FF2B5EF4-FFF2-40B4-BE49-F238E27FC236}">
                <a16:creationId xmlns:a16="http://schemas.microsoft.com/office/drawing/2014/main" id="{145E13DF-1E11-0ED9-04A7-D3D638965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2"/>
            <a:ext cx="4870427" cy="4879569"/>
          </a:xfrm>
          <a:custGeom>
            <a:avLst/>
            <a:gdLst>
              <a:gd name="connsiteX0" fmla="*/ 3696012 w 4870427"/>
              <a:gd name="connsiteY0" fmla="*/ 3719852 h 4879569"/>
              <a:gd name="connsiteX1" fmla="*/ 4870427 w 4870427"/>
              <a:gd name="connsiteY1" fmla="*/ 3719852 h 4879569"/>
              <a:gd name="connsiteX2" fmla="*/ 4870427 w 4870427"/>
              <a:gd name="connsiteY2" fmla="*/ 4879569 h 4879569"/>
              <a:gd name="connsiteX3" fmla="*/ 3696012 w 4870427"/>
              <a:gd name="connsiteY3" fmla="*/ 4879569 h 4879569"/>
              <a:gd name="connsiteX4" fmla="*/ 1219347 w 4870427"/>
              <a:gd name="connsiteY4" fmla="*/ 3719852 h 4879569"/>
              <a:gd name="connsiteX5" fmla="*/ 2377747 w 4870427"/>
              <a:gd name="connsiteY5" fmla="*/ 3719852 h 4879569"/>
              <a:gd name="connsiteX6" fmla="*/ 2377747 w 4870427"/>
              <a:gd name="connsiteY6" fmla="*/ 4879569 h 4879569"/>
              <a:gd name="connsiteX7" fmla="*/ 1219347 w 4870427"/>
              <a:gd name="connsiteY7" fmla="*/ 4879569 h 4879569"/>
              <a:gd name="connsiteX8" fmla="*/ 0 w 4870427"/>
              <a:gd name="connsiteY8" fmla="*/ 3719852 h 4879569"/>
              <a:gd name="connsiteX9" fmla="*/ 1139415 w 4870427"/>
              <a:gd name="connsiteY9" fmla="*/ 3719852 h 4879569"/>
              <a:gd name="connsiteX10" fmla="*/ 1139415 w 4870427"/>
              <a:gd name="connsiteY10" fmla="*/ 4879569 h 4879569"/>
              <a:gd name="connsiteX11" fmla="*/ 0 w 4870427"/>
              <a:gd name="connsiteY11" fmla="*/ 4879569 h 4879569"/>
              <a:gd name="connsiteX12" fmla="*/ 2457679 w 4870427"/>
              <a:gd name="connsiteY12" fmla="*/ 2479315 h 4879569"/>
              <a:gd name="connsiteX13" fmla="*/ 3616080 w 4870427"/>
              <a:gd name="connsiteY13" fmla="*/ 2479315 h 4879569"/>
              <a:gd name="connsiteX14" fmla="*/ 3616080 w 4870427"/>
              <a:gd name="connsiteY14" fmla="*/ 3639920 h 4879569"/>
              <a:gd name="connsiteX15" fmla="*/ 2457679 w 4870427"/>
              <a:gd name="connsiteY15" fmla="*/ 3639920 h 4879569"/>
              <a:gd name="connsiteX16" fmla="*/ 0 w 4870427"/>
              <a:gd name="connsiteY16" fmla="*/ 2479315 h 4879569"/>
              <a:gd name="connsiteX17" fmla="*/ 1139415 w 4870427"/>
              <a:gd name="connsiteY17" fmla="*/ 2479315 h 4879569"/>
              <a:gd name="connsiteX18" fmla="*/ 1139415 w 4870427"/>
              <a:gd name="connsiteY18" fmla="*/ 3639920 h 4879569"/>
              <a:gd name="connsiteX19" fmla="*/ 0 w 4870427"/>
              <a:gd name="connsiteY19" fmla="*/ 3639920 h 4879569"/>
              <a:gd name="connsiteX20" fmla="*/ 3696012 w 4870427"/>
              <a:gd name="connsiteY20" fmla="*/ 1239657 h 4879569"/>
              <a:gd name="connsiteX21" fmla="*/ 4870427 w 4870427"/>
              <a:gd name="connsiteY21" fmla="*/ 1239657 h 4879569"/>
              <a:gd name="connsiteX22" fmla="*/ 4870427 w 4870427"/>
              <a:gd name="connsiteY22" fmla="*/ 2399383 h 4879569"/>
              <a:gd name="connsiteX23" fmla="*/ 3696012 w 4870427"/>
              <a:gd name="connsiteY23" fmla="*/ 2399383 h 4879569"/>
              <a:gd name="connsiteX24" fmla="*/ 2457679 w 4870427"/>
              <a:gd name="connsiteY24" fmla="*/ 1239657 h 4879569"/>
              <a:gd name="connsiteX25" fmla="*/ 3616080 w 4870427"/>
              <a:gd name="connsiteY25" fmla="*/ 1239657 h 4879569"/>
              <a:gd name="connsiteX26" fmla="*/ 3616080 w 4870427"/>
              <a:gd name="connsiteY26" fmla="*/ 2399383 h 4879569"/>
              <a:gd name="connsiteX27" fmla="*/ 2457679 w 4870427"/>
              <a:gd name="connsiteY27" fmla="*/ 2399383 h 4879569"/>
              <a:gd name="connsiteX28" fmla="*/ 1219347 w 4870427"/>
              <a:gd name="connsiteY28" fmla="*/ 1239657 h 4879569"/>
              <a:gd name="connsiteX29" fmla="*/ 2377747 w 4870427"/>
              <a:gd name="connsiteY29" fmla="*/ 1239657 h 4879569"/>
              <a:gd name="connsiteX30" fmla="*/ 2377747 w 4870427"/>
              <a:gd name="connsiteY30" fmla="*/ 2399383 h 4879569"/>
              <a:gd name="connsiteX31" fmla="*/ 1219347 w 4870427"/>
              <a:gd name="connsiteY31" fmla="*/ 2399383 h 4879569"/>
              <a:gd name="connsiteX32" fmla="*/ 0 w 4870427"/>
              <a:gd name="connsiteY32" fmla="*/ 1239657 h 4879569"/>
              <a:gd name="connsiteX33" fmla="*/ 1139415 w 4870427"/>
              <a:gd name="connsiteY33" fmla="*/ 1239657 h 4879569"/>
              <a:gd name="connsiteX34" fmla="*/ 1139415 w 4870427"/>
              <a:gd name="connsiteY34" fmla="*/ 2399383 h 4879569"/>
              <a:gd name="connsiteX35" fmla="*/ 0 w 4870427"/>
              <a:gd name="connsiteY35" fmla="*/ 2399383 h 4879569"/>
              <a:gd name="connsiteX36" fmla="*/ 1219347 w 4870427"/>
              <a:gd name="connsiteY36" fmla="*/ 0 h 4879569"/>
              <a:gd name="connsiteX37" fmla="*/ 2377747 w 4870427"/>
              <a:gd name="connsiteY37" fmla="*/ 0 h 4879569"/>
              <a:gd name="connsiteX38" fmla="*/ 2377747 w 4870427"/>
              <a:gd name="connsiteY38" fmla="*/ 1159725 h 4879569"/>
              <a:gd name="connsiteX39" fmla="*/ 1219347 w 4870427"/>
              <a:gd name="connsiteY39" fmla="*/ 1159725 h 4879569"/>
              <a:gd name="connsiteX40" fmla="*/ 0 w 4870427"/>
              <a:gd name="connsiteY40" fmla="*/ 0 h 4879569"/>
              <a:gd name="connsiteX41" fmla="*/ 1139415 w 4870427"/>
              <a:gd name="connsiteY41" fmla="*/ 0 h 4879569"/>
              <a:gd name="connsiteX42" fmla="*/ 1139415 w 4870427"/>
              <a:gd name="connsiteY42" fmla="*/ 1159725 h 4879569"/>
              <a:gd name="connsiteX43" fmla="*/ 0 w 4870427"/>
              <a:gd name="connsiteY43" fmla="*/ 1159725 h 487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870427" h="4879569">
                <a:moveTo>
                  <a:pt x="3696012" y="3719852"/>
                </a:moveTo>
                <a:lnTo>
                  <a:pt x="4870427" y="3719852"/>
                </a:lnTo>
                <a:lnTo>
                  <a:pt x="4870427" y="4879569"/>
                </a:lnTo>
                <a:lnTo>
                  <a:pt x="3696012" y="4879569"/>
                </a:lnTo>
                <a:close/>
                <a:moveTo>
                  <a:pt x="1219347" y="3719852"/>
                </a:moveTo>
                <a:lnTo>
                  <a:pt x="2377747" y="3719852"/>
                </a:lnTo>
                <a:lnTo>
                  <a:pt x="2377747" y="4879569"/>
                </a:lnTo>
                <a:lnTo>
                  <a:pt x="1219347" y="4879569"/>
                </a:lnTo>
                <a:close/>
                <a:moveTo>
                  <a:pt x="0" y="3719852"/>
                </a:moveTo>
                <a:lnTo>
                  <a:pt x="1139415" y="3719852"/>
                </a:lnTo>
                <a:lnTo>
                  <a:pt x="1139415" y="4879569"/>
                </a:lnTo>
                <a:lnTo>
                  <a:pt x="0" y="4879569"/>
                </a:lnTo>
                <a:close/>
                <a:moveTo>
                  <a:pt x="2457679" y="2479315"/>
                </a:moveTo>
                <a:lnTo>
                  <a:pt x="3616080" y="2479315"/>
                </a:lnTo>
                <a:lnTo>
                  <a:pt x="3616080" y="3639920"/>
                </a:lnTo>
                <a:lnTo>
                  <a:pt x="2457679" y="3639920"/>
                </a:lnTo>
                <a:close/>
                <a:moveTo>
                  <a:pt x="0" y="2479315"/>
                </a:moveTo>
                <a:lnTo>
                  <a:pt x="1139415" y="2479315"/>
                </a:lnTo>
                <a:lnTo>
                  <a:pt x="1139415" y="3639920"/>
                </a:lnTo>
                <a:lnTo>
                  <a:pt x="0" y="3639920"/>
                </a:lnTo>
                <a:close/>
                <a:moveTo>
                  <a:pt x="3696012" y="1239657"/>
                </a:moveTo>
                <a:lnTo>
                  <a:pt x="4870427" y="1239657"/>
                </a:lnTo>
                <a:lnTo>
                  <a:pt x="4870427" y="2399383"/>
                </a:lnTo>
                <a:lnTo>
                  <a:pt x="3696012" y="2399383"/>
                </a:lnTo>
                <a:close/>
                <a:moveTo>
                  <a:pt x="2457679" y="1239657"/>
                </a:moveTo>
                <a:lnTo>
                  <a:pt x="3616080" y="1239657"/>
                </a:lnTo>
                <a:lnTo>
                  <a:pt x="3616080" y="2399383"/>
                </a:lnTo>
                <a:lnTo>
                  <a:pt x="2457679" y="2399383"/>
                </a:lnTo>
                <a:close/>
                <a:moveTo>
                  <a:pt x="1219347" y="1239657"/>
                </a:moveTo>
                <a:lnTo>
                  <a:pt x="2377747" y="1239657"/>
                </a:lnTo>
                <a:lnTo>
                  <a:pt x="2377747" y="2399383"/>
                </a:lnTo>
                <a:lnTo>
                  <a:pt x="1219347" y="2399383"/>
                </a:lnTo>
                <a:close/>
                <a:moveTo>
                  <a:pt x="0" y="1239657"/>
                </a:moveTo>
                <a:lnTo>
                  <a:pt x="1139415" y="1239657"/>
                </a:lnTo>
                <a:lnTo>
                  <a:pt x="1139415" y="2399383"/>
                </a:lnTo>
                <a:lnTo>
                  <a:pt x="0" y="2399383"/>
                </a:lnTo>
                <a:close/>
                <a:moveTo>
                  <a:pt x="1219347" y="0"/>
                </a:moveTo>
                <a:lnTo>
                  <a:pt x="2377747" y="0"/>
                </a:lnTo>
                <a:lnTo>
                  <a:pt x="2377747" y="1159725"/>
                </a:lnTo>
                <a:lnTo>
                  <a:pt x="1219347" y="1159725"/>
                </a:lnTo>
                <a:close/>
                <a:moveTo>
                  <a:pt x="0" y="0"/>
                </a:moveTo>
                <a:lnTo>
                  <a:pt x="1139415" y="0"/>
                </a:lnTo>
                <a:lnTo>
                  <a:pt x="1139415" y="1159725"/>
                </a:lnTo>
                <a:lnTo>
                  <a:pt x="0" y="11597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contenu 5">
            <a:extLst>
              <a:ext uri="{FF2B5EF4-FFF2-40B4-BE49-F238E27FC236}">
                <a16:creationId xmlns:a16="http://schemas.microsoft.com/office/drawing/2014/main" id="{240D259F-584D-3F4B-B27E-FE69ED05692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36096" y="1131590"/>
            <a:ext cx="332102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2182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90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8004764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ECAC54-2696-3BD4-055D-E3F837A06F06}"/>
              </a:ext>
            </a:extLst>
          </p:cNvPr>
          <p:cNvSpPr/>
          <p:nvPr userDrawn="1"/>
        </p:nvSpPr>
        <p:spPr>
          <a:xfrm>
            <a:off x="6732240" y="1"/>
            <a:ext cx="2088232" cy="50059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91"/>
            <a:ext cx="4620366" cy="34696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5E946D88-4317-29A1-5908-290228FDD42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398275" y="1131889"/>
            <a:ext cx="3025775" cy="345598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8144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560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image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 : forme 18"/>
          <p:cNvSpPr>
            <a:spLocks noGrp="1"/>
          </p:cNvSpPr>
          <p:nvPr>
            <p:ph type="pic" sz="quarter" idx="12"/>
          </p:nvPr>
        </p:nvSpPr>
        <p:spPr>
          <a:xfrm>
            <a:off x="5299200" y="1259999"/>
            <a:ext cx="3583980" cy="3165007"/>
          </a:xfrm>
          <a:custGeom>
            <a:avLst/>
            <a:gdLst>
              <a:gd name="connsiteX0" fmla="*/ 3931191 w 4313957"/>
              <a:gd name="connsiteY0" fmla="*/ 788 h 3806996"/>
              <a:gd name="connsiteX1" fmla="*/ 4007658 w 4313957"/>
              <a:gd name="connsiteY1" fmla="*/ 78945 h 3806996"/>
              <a:gd name="connsiteX2" fmla="*/ 4009285 w 4313957"/>
              <a:gd name="connsiteY2" fmla="*/ 119652 h 3806996"/>
              <a:gd name="connsiteX3" fmla="*/ 4010912 w 4313957"/>
              <a:gd name="connsiteY3" fmla="*/ 119652 h 3806996"/>
              <a:gd name="connsiteX4" fmla="*/ 4017420 w 4313957"/>
              <a:gd name="connsiteY4" fmla="*/ 217349 h 3806996"/>
              <a:gd name="connsiteX5" fmla="*/ 4028809 w 4313957"/>
              <a:gd name="connsiteY5" fmla="*/ 323187 h 3806996"/>
              <a:gd name="connsiteX6" fmla="*/ 3996269 w 4313957"/>
              <a:gd name="connsiteY6" fmla="*/ 393203 h 3806996"/>
              <a:gd name="connsiteX7" fmla="*/ 3970238 w 4313957"/>
              <a:gd name="connsiteY7" fmla="*/ 474617 h 3806996"/>
              <a:gd name="connsiteX8" fmla="*/ 3950714 w 4313957"/>
              <a:gd name="connsiteY8" fmla="*/ 503926 h 3806996"/>
              <a:gd name="connsiteX9" fmla="*/ 3870993 w 4313957"/>
              <a:gd name="connsiteY9" fmla="*/ 867032 h 3806996"/>
              <a:gd name="connsiteX10" fmla="*/ 3711551 w 4313957"/>
              <a:gd name="connsiteY10" fmla="*/ 1153609 h 3806996"/>
              <a:gd name="connsiteX11" fmla="*/ 3693654 w 4313957"/>
              <a:gd name="connsiteY11" fmla="*/ 1182918 h 3806996"/>
              <a:gd name="connsiteX12" fmla="*/ 3651353 w 4313957"/>
              <a:gd name="connsiteY12" fmla="*/ 1221997 h 3806996"/>
              <a:gd name="connsiteX13" fmla="*/ 3709924 w 4313957"/>
              <a:gd name="connsiteY13" fmla="*/ 1244793 h 3806996"/>
              <a:gd name="connsiteX14" fmla="*/ 3709924 w 4313957"/>
              <a:gd name="connsiteY14" fmla="*/ 1243165 h 3806996"/>
              <a:gd name="connsiteX15" fmla="*/ 3709924 w 4313957"/>
              <a:gd name="connsiteY15" fmla="*/ 1241536 h 3806996"/>
              <a:gd name="connsiteX16" fmla="*/ 3781510 w 4313957"/>
              <a:gd name="connsiteY16" fmla="*/ 1213856 h 3806996"/>
              <a:gd name="connsiteX17" fmla="*/ 3859604 w 4313957"/>
              <a:gd name="connsiteY17" fmla="*/ 1208971 h 3806996"/>
              <a:gd name="connsiteX18" fmla="*/ 3921429 w 4313957"/>
              <a:gd name="connsiteY18" fmla="*/ 1217112 h 3806996"/>
              <a:gd name="connsiteX19" fmla="*/ 3934445 w 4313957"/>
              <a:gd name="connsiteY19" fmla="*/ 1221997 h 3806996"/>
              <a:gd name="connsiteX20" fmla="*/ 4066229 w 4313957"/>
              <a:gd name="connsiteY20" fmla="*/ 1148724 h 3806996"/>
              <a:gd name="connsiteX21" fmla="*/ 4123172 w 4313957"/>
              <a:gd name="connsiteY21" fmla="*/ 1151981 h 3806996"/>
              <a:gd name="connsiteX22" fmla="*/ 4158966 w 4313957"/>
              <a:gd name="connsiteY22" fmla="*/ 1223625 h 3806996"/>
              <a:gd name="connsiteX23" fmla="*/ 4137815 w 4313957"/>
              <a:gd name="connsiteY23" fmla="*/ 1282243 h 3806996"/>
              <a:gd name="connsiteX24" fmla="*/ 4132934 w 4313957"/>
              <a:gd name="connsiteY24" fmla="*/ 1339233 h 3806996"/>
              <a:gd name="connsiteX25" fmla="*/ 4106903 w 4313957"/>
              <a:gd name="connsiteY25" fmla="*/ 1371799 h 3806996"/>
              <a:gd name="connsiteX26" fmla="*/ 4124799 w 4313957"/>
              <a:gd name="connsiteY26" fmla="*/ 1378312 h 3806996"/>
              <a:gd name="connsiteX27" fmla="*/ 4272853 w 4313957"/>
              <a:gd name="connsiteY27" fmla="*/ 1272474 h 3806996"/>
              <a:gd name="connsiteX28" fmla="*/ 4302138 w 4313957"/>
              <a:gd name="connsiteY28" fmla="*/ 1275730 h 3806996"/>
              <a:gd name="connsiteX29" fmla="*/ 4310273 w 4313957"/>
              <a:gd name="connsiteY29" fmla="*/ 1326207 h 3806996"/>
              <a:gd name="connsiteX30" fmla="*/ 4269599 w 4313957"/>
              <a:gd name="connsiteY30" fmla="*/ 1529742 h 3806996"/>
              <a:gd name="connsiteX31" fmla="*/ 4206148 w 4313957"/>
              <a:gd name="connsiteY31" fmla="*/ 1622554 h 3806996"/>
              <a:gd name="connsiteX32" fmla="*/ 4206148 w 4313957"/>
              <a:gd name="connsiteY32" fmla="*/ 1619297 h 3806996"/>
              <a:gd name="connsiteX33" fmla="*/ 4178489 w 4313957"/>
              <a:gd name="connsiteY33" fmla="*/ 1697455 h 3806996"/>
              <a:gd name="connsiteX34" fmla="*/ 4134561 w 4313957"/>
              <a:gd name="connsiteY34" fmla="*/ 1787010 h 3806996"/>
              <a:gd name="connsiteX35" fmla="*/ 4100395 w 4313957"/>
              <a:gd name="connsiteY35" fmla="*/ 1850513 h 3806996"/>
              <a:gd name="connsiteX36" fmla="*/ 4074364 w 4313957"/>
              <a:gd name="connsiteY36" fmla="*/ 1907503 h 3806996"/>
              <a:gd name="connsiteX37" fmla="*/ 4049959 w 4313957"/>
              <a:gd name="connsiteY37" fmla="*/ 1990545 h 3806996"/>
              <a:gd name="connsiteX38" fmla="*/ 3960476 w 4313957"/>
              <a:gd name="connsiteY38" fmla="*/ 2228274 h 3806996"/>
              <a:gd name="connsiteX39" fmla="*/ 3916548 w 4313957"/>
              <a:gd name="connsiteY39" fmla="*/ 2360164 h 3806996"/>
              <a:gd name="connsiteX40" fmla="*/ 3885636 w 4313957"/>
              <a:gd name="connsiteY40" fmla="*/ 2391102 h 3806996"/>
              <a:gd name="connsiteX41" fmla="*/ 3841708 w 4313957"/>
              <a:gd name="connsiteY41" fmla="*/ 2461118 h 3806996"/>
              <a:gd name="connsiteX42" fmla="*/ 3685520 w 4313957"/>
              <a:gd name="connsiteY42" fmla="*/ 2472516 h 3806996"/>
              <a:gd name="connsiteX43" fmla="*/ 3543974 w 4313957"/>
              <a:gd name="connsiteY43" fmla="*/ 2479029 h 3806996"/>
              <a:gd name="connsiteX44" fmla="*/ 3417071 w 4313957"/>
              <a:gd name="connsiteY44" fmla="*/ 2508338 h 3806996"/>
              <a:gd name="connsiteX45" fmla="*/ 3417071 w 4313957"/>
              <a:gd name="connsiteY45" fmla="*/ 2506710 h 3806996"/>
              <a:gd name="connsiteX46" fmla="*/ 2880173 w 4313957"/>
              <a:gd name="connsiteY46" fmla="*/ 2658140 h 3806996"/>
              <a:gd name="connsiteX47" fmla="*/ 2418115 w 4313957"/>
              <a:gd name="connsiteY47" fmla="*/ 2830737 h 3806996"/>
              <a:gd name="connsiteX48" fmla="*/ 1838916 w 4313957"/>
              <a:gd name="connsiteY48" fmla="*/ 3088005 h 3806996"/>
              <a:gd name="connsiteX49" fmla="*/ 1536301 w 4313957"/>
              <a:gd name="connsiteY49" fmla="*/ 3254090 h 3806996"/>
              <a:gd name="connsiteX50" fmla="*/ 1404517 w 4313957"/>
              <a:gd name="connsiteY50" fmla="*/ 3340389 h 3806996"/>
              <a:gd name="connsiteX51" fmla="*/ 1178369 w 4313957"/>
              <a:gd name="connsiteY51" fmla="*/ 3495075 h 3806996"/>
              <a:gd name="connsiteX52" fmla="*/ 948968 w 4313957"/>
              <a:gd name="connsiteY52" fmla="*/ 3669301 h 3806996"/>
              <a:gd name="connsiteX53" fmla="*/ 919682 w 4313957"/>
              <a:gd name="connsiteY53" fmla="*/ 3685584 h 3806996"/>
              <a:gd name="connsiteX54" fmla="*/ 700042 w 4313957"/>
              <a:gd name="connsiteY54" fmla="*/ 3799563 h 3806996"/>
              <a:gd name="connsiteX55" fmla="*/ 508061 w 4313957"/>
              <a:gd name="connsiteY55" fmla="*/ 3804448 h 3806996"/>
              <a:gd name="connsiteX56" fmla="*/ 457625 w 4313957"/>
              <a:gd name="connsiteY56" fmla="*/ 3726291 h 3806996"/>
              <a:gd name="connsiteX57" fmla="*/ 408816 w 4313957"/>
              <a:gd name="connsiteY57" fmla="*/ 3690469 h 3806996"/>
              <a:gd name="connsiteX58" fmla="*/ 495045 w 4313957"/>
              <a:gd name="connsiteY58" fmla="*/ 3599285 h 3806996"/>
              <a:gd name="connsiteX59" fmla="*/ 423458 w 4313957"/>
              <a:gd name="connsiteY59" fmla="*/ 3617196 h 3806996"/>
              <a:gd name="connsiteX60" fmla="*/ 482029 w 4313957"/>
              <a:gd name="connsiteY60" fmla="*/ 3516243 h 3806996"/>
              <a:gd name="connsiteX61" fmla="*/ 516195 w 4313957"/>
              <a:gd name="connsiteY61" fmla="*/ 3469023 h 3806996"/>
              <a:gd name="connsiteX62" fmla="*/ 563377 w 4313957"/>
              <a:gd name="connsiteY62" fmla="*/ 3413661 h 3806996"/>
              <a:gd name="connsiteX63" fmla="*/ 565004 w 4313957"/>
              <a:gd name="connsiteY63" fmla="*/ 3413661 h 3806996"/>
              <a:gd name="connsiteX64" fmla="*/ 506434 w 4313957"/>
              <a:gd name="connsiteY64" fmla="*/ 3314336 h 3806996"/>
              <a:gd name="connsiteX65" fmla="*/ 566631 w 4313957"/>
              <a:gd name="connsiteY65" fmla="*/ 3278514 h 3806996"/>
              <a:gd name="connsiteX66" fmla="*/ 659368 w 4313957"/>
              <a:gd name="connsiteY66" fmla="*/ 3182445 h 3806996"/>
              <a:gd name="connsiteX67" fmla="*/ 660995 w 4313957"/>
              <a:gd name="connsiteY67" fmla="*/ 3182445 h 3806996"/>
              <a:gd name="connsiteX68" fmla="*/ 615440 w 4313957"/>
              <a:gd name="connsiteY68" fmla="*/ 3179189 h 3806996"/>
              <a:gd name="connsiteX69" fmla="*/ 800914 w 4313957"/>
              <a:gd name="connsiteY69" fmla="*/ 3055440 h 3806996"/>
              <a:gd name="connsiteX70" fmla="*/ 791152 w 4313957"/>
              <a:gd name="connsiteY70" fmla="*/ 3047298 h 3806996"/>
              <a:gd name="connsiteX71" fmla="*/ 726074 w 4313957"/>
              <a:gd name="connsiteY71" fmla="*/ 3026131 h 3806996"/>
              <a:gd name="connsiteX72" fmla="*/ 778136 w 4313957"/>
              <a:gd name="connsiteY72" fmla="*/ 2964256 h 3806996"/>
              <a:gd name="connsiteX73" fmla="*/ 1001030 w 4313957"/>
              <a:gd name="connsiteY73" fmla="*/ 2783517 h 3806996"/>
              <a:gd name="connsiteX74" fmla="*/ 1030316 w 4313957"/>
              <a:gd name="connsiteY74" fmla="*/ 2711873 h 3806996"/>
              <a:gd name="connsiteX75" fmla="*/ 1038451 w 4313957"/>
              <a:gd name="connsiteY75" fmla="*/ 2680935 h 3806996"/>
              <a:gd name="connsiteX76" fmla="*/ 1007538 w 4313957"/>
              <a:gd name="connsiteY76" fmla="*/ 2677679 h 3806996"/>
              <a:gd name="connsiteX77" fmla="*/ 929444 w 4313957"/>
              <a:gd name="connsiteY77" fmla="*/ 2677679 h 3806996"/>
              <a:gd name="connsiteX78" fmla="*/ 678892 w 4313957"/>
              <a:gd name="connsiteY78" fmla="*/ 2850276 h 3806996"/>
              <a:gd name="connsiteX79" fmla="*/ 628456 w 4313957"/>
              <a:gd name="connsiteY79" fmla="*/ 2871444 h 3806996"/>
              <a:gd name="connsiteX80" fmla="*/ 825318 w 4313957"/>
              <a:gd name="connsiteY80" fmla="*/ 2716758 h 3806996"/>
              <a:gd name="connsiteX81" fmla="*/ 989642 w 4313957"/>
              <a:gd name="connsiteY81" fmla="*/ 2534390 h 3806996"/>
              <a:gd name="connsiteX82" fmla="*/ 976626 w 4313957"/>
              <a:gd name="connsiteY82" fmla="*/ 2444835 h 3806996"/>
              <a:gd name="connsiteX83" fmla="*/ 958729 w 4313957"/>
              <a:gd name="connsiteY83" fmla="*/ 2405756 h 3806996"/>
              <a:gd name="connsiteX84" fmla="*/ 958729 w 4313957"/>
              <a:gd name="connsiteY84" fmla="*/ 2404128 h 3806996"/>
              <a:gd name="connsiteX85" fmla="*/ 952221 w 4313957"/>
              <a:gd name="connsiteY85" fmla="*/ 2400871 h 3806996"/>
              <a:gd name="connsiteX86" fmla="*/ 953848 w 4313957"/>
              <a:gd name="connsiteY86" fmla="*/ 2400871 h 3806996"/>
              <a:gd name="connsiteX87" fmla="*/ 826945 w 4313957"/>
              <a:gd name="connsiteY87" fmla="*/ 2259211 h 3806996"/>
              <a:gd name="connsiteX88" fmla="*/ 647979 w 4313957"/>
              <a:gd name="connsiteY88" fmla="*/ 2145232 h 3806996"/>
              <a:gd name="connsiteX89" fmla="*/ 542227 w 4313957"/>
              <a:gd name="connsiteY89" fmla="*/ 2045906 h 3806996"/>
              <a:gd name="connsiteX90" fmla="*/ 441355 w 4313957"/>
              <a:gd name="connsiteY90" fmla="*/ 1953095 h 3806996"/>
              <a:gd name="connsiteX91" fmla="*/ 412070 w 4313957"/>
              <a:gd name="connsiteY91" fmla="*/ 1917272 h 3806996"/>
              <a:gd name="connsiteX92" fmla="*/ 377903 w 4313957"/>
              <a:gd name="connsiteY92" fmla="*/ 1881450 h 3806996"/>
              <a:gd name="connsiteX93" fmla="*/ 361634 w 4313957"/>
              <a:gd name="connsiteY93" fmla="*/ 1860283 h 3806996"/>
              <a:gd name="connsiteX94" fmla="*/ 242866 w 4313957"/>
              <a:gd name="connsiteY94" fmla="*/ 1824460 h 3806996"/>
              <a:gd name="connsiteX95" fmla="*/ 94812 w 4313957"/>
              <a:gd name="connsiteY95" fmla="*/ 1796780 h 3806996"/>
              <a:gd name="connsiteX96" fmla="*/ 448 w 4313957"/>
              <a:gd name="connsiteY96" fmla="*/ 1725135 h 3806996"/>
              <a:gd name="connsiteX97" fmla="*/ 39495 w 4313957"/>
              <a:gd name="connsiteY97" fmla="*/ 1673030 h 3806996"/>
              <a:gd name="connsiteX98" fmla="*/ 156637 w 4313957"/>
              <a:gd name="connsiteY98" fmla="*/ 1646978 h 3806996"/>
              <a:gd name="connsiteX99" fmla="*/ 211953 w 4313957"/>
              <a:gd name="connsiteY99" fmla="*/ 1611156 h 3806996"/>
              <a:gd name="connsiteX100" fmla="*/ 267270 w 4313957"/>
              <a:gd name="connsiteY100" fmla="*/ 1562307 h 3806996"/>
              <a:gd name="connsiteX101" fmla="*/ 265643 w 4313957"/>
              <a:gd name="connsiteY101" fmla="*/ 1560679 h 3806996"/>
              <a:gd name="connsiteX102" fmla="*/ 257508 w 4313957"/>
              <a:gd name="connsiteY102" fmla="*/ 1476009 h 3806996"/>
              <a:gd name="connsiteX103" fmla="*/ 270524 w 4313957"/>
              <a:gd name="connsiteY103" fmla="*/ 1396223 h 3806996"/>
              <a:gd name="connsiteX104" fmla="*/ 358380 w 4313957"/>
              <a:gd name="connsiteY104" fmla="*/ 1412506 h 3806996"/>
              <a:gd name="connsiteX105" fmla="*/ 377903 w 4313957"/>
              <a:gd name="connsiteY105" fmla="*/ 1388082 h 3806996"/>
              <a:gd name="connsiteX106" fmla="*/ 459252 w 4313957"/>
              <a:gd name="connsiteY106" fmla="*/ 1288757 h 3806996"/>
              <a:gd name="connsiteX107" fmla="*/ 386038 w 4313957"/>
              <a:gd name="connsiteY107" fmla="*/ 1215484 h 3806996"/>
              <a:gd name="connsiteX108" fmla="*/ 374650 w 4313957"/>
              <a:gd name="connsiteY108" fmla="*/ 1119415 h 3806996"/>
              <a:gd name="connsiteX109" fmla="*/ 442982 w 4313957"/>
              <a:gd name="connsiteY109" fmla="*/ 1137327 h 3806996"/>
              <a:gd name="connsiteX110" fmla="*/ 538973 w 4313957"/>
              <a:gd name="connsiteY110" fmla="*/ 1098248 h 3806996"/>
              <a:gd name="connsiteX111" fmla="*/ 578020 w 4313957"/>
              <a:gd name="connsiteY111" fmla="*/ 1078708 h 3806996"/>
              <a:gd name="connsiteX112" fmla="*/ 586155 w 4313957"/>
              <a:gd name="connsiteY112" fmla="*/ 1101504 h 3806996"/>
              <a:gd name="connsiteX113" fmla="*/ 670757 w 4313957"/>
              <a:gd name="connsiteY113" fmla="*/ 1072195 h 3806996"/>
              <a:gd name="connsiteX114" fmla="*/ 703296 w 4313957"/>
              <a:gd name="connsiteY114" fmla="*/ 1033117 h 3806996"/>
              <a:gd name="connsiteX115" fmla="*/ 698415 w 4313957"/>
              <a:gd name="connsiteY115" fmla="*/ 1008692 h 3806996"/>
              <a:gd name="connsiteX116" fmla="*/ 799287 w 4313957"/>
              <a:gd name="connsiteY116" fmla="*/ 948446 h 3806996"/>
              <a:gd name="connsiteX117" fmla="*/ 929444 w 4313957"/>
              <a:gd name="connsiteY117" fmla="*/ 925650 h 3806996"/>
              <a:gd name="connsiteX118" fmla="*/ 931071 w 4313957"/>
              <a:gd name="connsiteY118" fmla="*/ 925650 h 3806996"/>
              <a:gd name="connsiteX119" fmla="*/ 999403 w 4313957"/>
              <a:gd name="connsiteY119" fmla="*/ 850749 h 3806996"/>
              <a:gd name="connsiteX120" fmla="*/ 1149084 w 4313957"/>
              <a:gd name="connsiteY120" fmla="*/ 788875 h 3806996"/>
              <a:gd name="connsiteX121" fmla="*/ 1178369 w 4313957"/>
              <a:gd name="connsiteY121" fmla="*/ 783990 h 3806996"/>
              <a:gd name="connsiteX122" fmla="*/ 1650189 w 4313957"/>
              <a:gd name="connsiteY122" fmla="*/ 580455 h 3806996"/>
              <a:gd name="connsiteX123" fmla="*/ 1625784 w 4313957"/>
              <a:gd name="connsiteY123" fmla="*/ 569057 h 3806996"/>
              <a:gd name="connsiteX124" fmla="*/ 1555825 w 4313957"/>
              <a:gd name="connsiteY124" fmla="*/ 578827 h 3806996"/>
              <a:gd name="connsiteX125" fmla="*/ 1640427 w 4313957"/>
              <a:gd name="connsiteY125" fmla="*/ 538120 h 3806996"/>
              <a:gd name="connsiteX126" fmla="*/ 1853559 w 4313957"/>
              <a:gd name="connsiteY126" fmla="*/ 477873 h 3806996"/>
              <a:gd name="connsiteX127" fmla="*/ 1970700 w 4313957"/>
              <a:gd name="connsiteY127" fmla="*/ 429025 h 3806996"/>
              <a:gd name="connsiteX128" fmla="*/ 2053675 w 4313957"/>
              <a:gd name="connsiteY128" fmla="*/ 378548 h 3806996"/>
              <a:gd name="connsiteX129" fmla="*/ 2226134 w 4313957"/>
              <a:gd name="connsiteY129" fmla="*/ 355752 h 3806996"/>
              <a:gd name="connsiteX130" fmla="*/ 2375814 w 4313957"/>
              <a:gd name="connsiteY130" fmla="*/ 310161 h 3806996"/>
              <a:gd name="connsiteX131" fmla="*/ 2372560 w 4313957"/>
              <a:gd name="connsiteY131" fmla="*/ 310161 h 3806996"/>
              <a:gd name="connsiteX132" fmla="*/ 2667041 w 4313957"/>
              <a:gd name="connsiteY132" fmla="*/ 236888 h 3806996"/>
              <a:gd name="connsiteX133" fmla="*/ 2857395 w 4313957"/>
              <a:gd name="connsiteY133" fmla="*/ 171757 h 3806996"/>
              <a:gd name="connsiteX134" fmla="*/ 2863903 w 4313957"/>
              <a:gd name="connsiteY134" fmla="*/ 170129 h 3806996"/>
              <a:gd name="connsiteX135" fmla="*/ 2868784 w 4313957"/>
              <a:gd name="connsiteY135" fmla="*/ 171757 h 3806996"/>
              <a:gd name="connsiteX136" fmla="*/ 3106321 w 4313957"/>
              <a:gd name="connsiteY136" fmla="*/ 155474 h 3806996"/>
              <a:gd name="connsiteX137" fmla="*/ 3534212 w 4313957"/>
              <a:gd name="connsiteY137" fmla="*/ 31725 h 3806996"/>
              <a:gd name="connsiteX138" fmla="*/ 3693654 w 4313957"/>
              <a:gd name="connsiteY138" fmla="*/ 41495 h 3806996"/>
              <a:gd name="connsiteX139" fmla="*/ 3815677 w 4313957"/>
              <a:gd name="connsiteY139" fmla="*/ 49636 h 3806996"/>
              <a:gd name="connsiteX140" fmla="*/ 3931191 w 4313957"/>
              <a:gd name="connsiteY140" fmla="*/ 788 h 3806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313957" h="3806996">
                <a:moveTo>
                  <a:pt x="3931191" y="788"/>
                </a:moveTo>
                <a:cubicBezTo>
                  <a:pt x="3973492" y="-7354"/>
                  <a:pt x="3984881" y="49636"/>
                  <a:pt x="4007658" y="78945"/>
                </a:cubicBezTo>
                <a:cubicBezTo>
                  <a:pt x="4014166" y="88715"/>
                  <a:pt x="4009285" y="106626"/>
                  <a:pt x="4009285" y="119652"/>
                </a:cubicBezTo>
                <a:cubicBezTo>
                  <a:pt x="4009285" y="119652"/>
                  <a:pt x="4010912" y="119652"/>
                  <a:pt x="4010912" y="119652"/>
                </a:cubicBezTo>
                <a:cubicBezTo>
                  <a:pt x="4043451" y="150589"/>
                  <a:pt x="4049959" y="181527"/>
                  <a:pt x="4017420" y="217349"/>
                </a:cubicBezTo>
                <a:cubicBezTo>
                  <a:pt x="4012539" y="253171"/>
                  <a:pt x="4041824" y="285736"/>
                  <a:pt x="4028809" y="323187"/>
                </a:cubicBezTo>
                <a:cubicBezTo>
                  <a:pt x="4030436" y="352496"/>
                  <a:pt x="4002777" y="365522"/>
                  <a:pt x="3996269" y="393203"/>
                </a:cubicBezTo>
                <a:cubicBezTo>
                  <a:pt x="3976746" y="415999"/>
                  <a:pt x="3994642" y="451821"/>
                  <a:pt x="3970238" y="474617"/>
                </a:cubicBezTo>
                <a:cubicBezTo>
                  <a:pt x="3965357" y="484386"/>
                  <a:pt x="3950714" y="494156"/>
                  <a:pt x="3950714" y="503926"/>
                </a:cubicBezTo>
                <a:cubicBezTo>
                  <a:pt x="3945833" y="630932"/>
                  <a:pt x="3887263" y="743283"/>
                  <a:pt x="3870993" y="867032"/>
                </a:cubicBezTo>
                <a:cubicBezTo>
                  <a:pt x="3856350" y="985897"/>
                  <a:pt x="3786391" y="1070567"/>
                  <a:pt x="3711551" y="1153609"/>
                </a:cubicBezTo>
                <a:cubicBezTo>
                  <a:pt x="3705043" y="1161751"/>
                  <a:pt x="3700162" y="1169892"/>
                  <a:pt x="3693654" y="1182918"/>
                </a:cubicBezTo>
                <a:cubicBezTo>
                  <a:pt x="3682266" y="1195945"/>
                  <a:pt x="3657861" y="1200829"/>
                  <a:pt x="3651353" y="1221997"/>
                </a:cubicBezTo>
                <a:cubicBezTo>
                  <a:pt x="3664369" y="1252934"/>
                  <a:pt x="3688773" y="1239908"/>
                  <a:pt x="3709924" y="1244793"/>
                </a:cubicBezTo>
                <a:cubicBezTo>
                  <a:pt x="3709924" y="1244793"/>
                  <a:pt x="3708297" y="1243165"/>
                  <a:pt x="3709924" y="1243165"/>
                </a:cubicBezTo>
                <a:cubicBezTo>
                  <a:pt x="3709924" y="1243165"/>
                  <a:pt x="3709924" y="1241536"/>
                  <a:pt x="3709924" y="1241536"/>
                </a:cubicBezTo>
                <a:cubicBezTo>
                  <a:pt x="3727821" y="1215484"/>
                  <a:pt x="3750598" y="1199201"/>
                  <a:pt x="3781510" y="1213856"/>
                </a:cubicBezTo>
                <a:cubicBezTo>
                  <a:pt x="3809169" y="1228510"/>
                  <a:pt x="3833573" y="1221997"/>
                  <a:pt x="3859604" y="1208971"/>
                </a:cubicBezTo>
                <a:cubicBezTo>
                  <a:pt x="3880755" y="1195945"/>
                  <a:pt x="3900278" y="1221997"/>
                  <a:pt x="3921429" y="1217112"/>
                </a:cubicBezTo>
                <a:cubicBezTo>
                  <a:pt x="3926310" y="1217112"/>
                  <a:pt x="3929564" y="1221997"/>
                  <a:pt x="3934445" y="1221997"/>
                </a:cubicBezTo>
                <a:cubicBezTo>
                  <a:pt x="3975119" y="1189431"/>
                  <a:pt x="4027182" y="1184547"/>
                  <a:pt x="4066229" y="1148724"/>
                </a:cubicBezTo>
                <a:cubicBezTo>
                  <a:pt x="4084125" y="1130813"/>
                  <a:pt x="4106903" y="1135698"/>
                  <a:pt x="4123172" y="1151981"/>
                </a:cubicBezTo>
                <a:cubicBezTo>
                  <a:pt x="4142696" y="1169892"/>
                  <a:pt x="4165473" y="1191060"/>
                  <a:pt x="4158966" y="1223625"/>
                </a:cubicBezTo>
                <a:cubicBezTo>
                  <a:pt x="4155712" y="1244793"/>
                  <a:pt x="4152458" y="1265961"/>
                  <a:pt x="4137815" y="1282243"/>
                </a:cubicBezTo>
                <a:cubicBezTo>
                  <a:pt x="4157339" y="1305039"/>
                  <a:pt x="4155712" y="1324579"/>
                  <a:pt x="4132934" y="1339233"/>
                </a:cubicBezTo>
                <a:cubicBezTo>
                  <a:pt x="4119918" y="1349003"/>
                  <a:pt x="4106903" y="1353888"/>
                  <a:pt x="4106903" y="1371799"/>
                </a:cubicBezTo>
                <a:cubicBezTo>
                  <a:pt x="4113411" y="1375055"/>
                  <a:pt x="4116665" y="1378312"/>
                  <a:pt x="4124799" y="1378312"/>
                </a:cubicBezTo>
                <a:cubicBezTo>
                  <a:pt x="4183370" y="1358773"/>
                  <a:pt x="4251703" y="1350631"/>
                  <a:pt x="4272853" y="1272474"/>
                </a:cubicBezTo>
                <a:cubicBezTo>
                  <a:pt x="4277734" y="1254563"/>
                  <a:pt x="4292377" y="1261076"/>
                  <a:pt x="4302138" y="1275730"/>
                </a:cubicBezTo>
                <a:cubicBezTo>
                  <a:pt x="4311900" y="1292013"/>
                  <a:pt x="4318408" y="1313181"/>
                  <a:pt x="4310273" y="1326207"/>
                </a:cubicBezTo>
                <a:cubicBezTo>
                  <a:pt x="4271226" y="1389710"/>
                  <a:pt x="4272853" y="1459726"/>
                  <a:pt x="4269599" y="1529742"/>
                </a:cubicBezTo>
                <a:cubicBezTo>
                  <a:pt x="4256583" y="1565564"/>
                  <a:pt x="4237060" y="1598130"/>
                  <a:pt x="4206148" y="1622554"/>
                </a:cubicBezTo>
                <a:cubicBezTo>
                  <a:pt x="4206148" y="1619297"/>
                  <a:pt x="4206148" y="1619297"/>
                  <a:pt x="4206148" y="1619297"/>
                </a:cubicBezTo>
                <a:cubicBezTo>
                  <a:pt x="4194759" y="1646978"/>
                  <a:pt x="4198013" y="1677915"/>
                  <a:pt x="4178489" y="1697455"/>
                </a:cubicBezTo>
                <a:cubicBezTo>
                  <a:pt x="4165473" y="1730020"/>
                  <a:pt x="4158966" y="1764214"/>
                  <a:pt x="4134561" y="1787010"/>
                </a:cubicBezTo>
                <a:cubicBezTo>
                  <a:pt x="4124799" y="1808178"/>
                  <a:pt x="4139442" y="1842372"/>
                  <a:pt x="4100395" y="1850513"/>
                </a:cubicBezTo>
                <a:cubicBezTo>
                  <a:pt x="4100395" y="1873309"/>
                  <a:pt x="4085752" y="1889592"/>
                  <a:pt x="4074364" y="1907503"/>
                </a:cubicBezTo>
                <a:cubicBezTo>
                  <a:pt x="4066229" y="1935183"/>
                  <a:pt x="4058094" y="1962864"/>
                  <a:pt x="4049959" y="1990545"/>
                </a:cubicBezTo>
                <a:cubicBezTo>
                  <a:pt x="4027182" y="2071959"/>
                  <a:pt x="4014166" y="2158258"/>
                  <a:pt x="3960476" y="2228274"/>
                </a:cubicBezTo>
                <a:cubicBezTo>
                  <a:pt x="3944206" y="2272237"/>
                  <a:pt x="3940953" y="2319457"/>
                  <a:pt x="3916548" y="2360164"/>
                </a:cubicBezTo>
                <a:cubicBezTo>
                  <a:pt x="3908413" y="2374819"/>
                  <a:pt x="3900278" y="2384589"/>
                  <a:pt x="3885636" y="2391102"/>
                </a:cubicBezTo>
                <a:cubicBezTo>
                  <a:pt x="3870993" y="2415526"/>
                  <a:pt x="3856350" y="2438322"/>
                  <a:pt x="3841708" y="2461118"/>
                </a:cubicBezTo>
                <a:cubicBezTo>
                  <a:pt x="3791272" y="2492055"/>
                  <a:pt x="3739209" y="2492055"/>
                  <a:pt x="3685520" y="2472516"/>
                </a:cubicBezTo>
                <a:cubicBezTo>
                  <a:pt x="3638338" y="2472516"/>
                  <a:pt x="3591156" y="2472516"/>
                  <a:pt x="3543974" y="2479029"/>
                </a:cubicBezTo>
                <a:cubicBezTo>
                  <a:pt x="3501673" y="2485542"/>
                  <a:pt x="3456118" y="2501825"/>
                  <a:pt x="3417071" y="2508338"/>
                </a:cubicBezTo>
                <a:cubicBezTo>
                  <a:pt x="3417071" y="2506710"/>
                  <a:pt x="3417071" y="2506710"/>
                  <a:pt x="3417071" y="2506710"/>
                </a:cubicBezTo>
                <a:cubicBezTo>
                  <a:pt x="3234851" y="2545788"/>
                  <a:pt x="3055885" y="2597893"/>
                  <a:pt x="2880173" y="2658140"/>
                </a:cubicBezTo>
                <a:cubicBezTo>
                  <a:pt x="2725611" y="2713501"/>
                  <a:pt x="2571050" y="2772119"/>
                  <a:pt x="2418115" y="2830737"/>
                </a:cubicBezTo>
                <a:cubicBezTo>
                  <a:pt x="2219626" y="2907266"/>
                  <a:pt x="2026017" y="2988680"/>
                  <a:pt x="1838916" y="3088005"/>
                </a:cubicBezTo>
                <a:cubicBezTo>
                  <a:pt x="1738045" y="3141738"/>
                  <a:pt x="1633919" y="3193843"/>
                  <a:pt x="1536301" y="3254090"/>
                </a:cubicBezTo>
                <a:cubicBezTo>
                  <a:pt x="1490746" y="3281771"/>
                  <a:pt x="1448445" y="3312708"/>
                  <a:pt x="1404517" y="3340389"/>
                </a:cubicBezTo>
                <a:cubicBezTo>
                  <a:pt x="1328050" y="3392494"/>
                  <a:pt x="1253210" y="3442970"/>
                  <a:pt x="1178369" y="3495075"/>
                </a:cubicBezTo>
                <a:cubicBezTo>
                  <a:pt x="1101902" y="3547180"/>
                  <a:pt x="1025435" y="3612311"/>
                  <a:pt x="948968" y="3669301"/>
                </a:cubicBezTo>
                <a:cubicBezTo>
                  <a:pt x="940833" y="3677442"/>
                  <a:pt x="929444" y="3680699"/>
                  <a:pt x="919682" y="3685584"/>
                </a:cubicBezTo>
                <a:cubicBezTo>
                  <a:pt x="852977" y="3736061"/>
                  <a:pt x="781390" y="3776768"/>
                  <a:pt x="700042" y="3799563"/>
                </a:cubicBezTo>
                <a:cubicBezTo>
                  <a:pt x="636591" y="3815846"/>
                  <a:pt x="579647" y="3799563"/>
                  <a:pt x="508061" y="3804448"/>
                </a:cubicBezTo>
                <a:cubicBezTo>
                  <a:pt x="475521" y="3788165"/>
                  <a:pt x="438101" y="3775139"/>
                  <a:pt x="457625" y="3726291"/>
                </a:cubicBezTo>
                <a:cubicBezTo>
                  <a:pt x="464133" y="3711636"/>
                  <a:pt x="459252" y="3710008"/>
                  <a:pt x="408816" y="3690469"/>
                </a:cubicBezTo>
                <a:cubicBezTo>
                  <a:pt x="473894" y="3685584"/>
                  <a:pt x="488537" y="3643249"/>
                  <a:pt x="495045" y="3599285"/>
                </a:cubicBezTo>
                <a:cubicBezTo>
                  <a:pt x="469013" y="3605798"/>
                  <a:pt x="447863" y="3610683"/>
                  <a:pt x="423458" y="3617196"/>
                </a:cubicBezTo>
                <a:cubicBezTo>
                  <a:pt x="472267" y="3599285"/>
                  <a:pt x="429966" y="3530897"/>
                  <a:pt x="482029" y="3516243"/>
                </a:cubicBezTo>
                <a:cubicBezTo>
                  <a:pt x="442982" y="3464138"/>
                  <a:pt x="504807" y="3482049"/>
                  <a:pt x="516195" y="3469023"/>
                </a:cubicBezTo>
                <a:cubicBezTo>
                  <a:pt x="537346" y="3455996"/>
                  <a:pt x="563377" y="3446227"/>
                  <a:pt x="563377" y="3413661"/>
                </a:cubicBezTo>
                <a:cubicBezTo>
                  <a:pt x="563377" y="3413661"/>
                  <a:pt x="565004" y="3413661"/>
                  <a:pt x="565004" y="3413661"/>
                </a:cubicBezTo>
                <a:cubicBezTo>
                  <a:pt x="488537" y="3387609"/>
                  <a:pt x="473894" y="3358300"/>
                  <a:pt x="506434" y="3314336"/>
                </a:cubicBezTo>
                <a:cubicBezTo>
                  <a:pt x="525957" y="3301310"/>
                  <a:pt x="547108" y="3289912"/>
                  <a:pt x="566631" y="3278514"/>
                </a:cubicBezTo>
                <a:cubicBezTo>
                  <a:pt x="599170" y="3249205"/>
                  <a:pt x="638218" y="3228037"/>
                  <a:pt x="659368" y="3182445"/>
                </a:cubicBezTo>
                <a:cubicBezTo>
                  <a:pt x="660995" y="3182445"/>
                  <a:pt x="660995" y="3182445"/>
                  <a:pt x="660995" y="3182445"/>
                </a:cubicBezTo>
                <a:cubicBezTo>
                  <a:pt x="649606" y="3175932"/>
                  <a:pt x="638218" y="3180817"/>
                  <a:pt x="615440" y="3179189"/>
                </a:cubicBezTo>
                <a:cubicBezTo>
                  <a:pt x="682146" y="3131969"/>
                  <a:pt x="758613" y="3120571"/>
                  <a:pt x="800914" y="3055440"/>
                </a:cubicBezTo>
                <a:cubicBezTo>
                  <a:pt x="797660" y="3053811"/>
                  <a:pt x="794406" y="3050555"/>
                  <a:pt x="791152" y="3047298"/>
                </a:cubicBezTo>
                <a:cubicBezTo>
                  <a:pt x="770002" y="3037529"/>
                  <a:pt x="730954" y="3073351"/>
                  <a:pt x="726074" y="3026131"/>
                </a:cubicBezTo>
                <a:cubicBezTo>
                  <a:pt x="722820" y="2991937"/>
                  <a:pt x="755359" y="2977282"/>
                  <a:pt x="778136" y="2964256"/>
                </a:cubicBezTo>
                <a:cubicBezTo>
                  <a:pt x="861112" y="2913779"/>
                  <a:pt x="932698" y="2851905"/>
                  <a:pt x="1001030" y="2783517"/>
                </a:cubicBezTo>
                <a:cubicBezTo>
                  <a:pt x="997776" y="2754208"/>
                  <a:pt x="1010792" y="2731412"/>
                  <a:pt x="1030316" y="2711873"/>
                </a:cubicBezTo>
                <a:cubicBezTo>
                  <a:pt x="1038451" y="2703731"/>
                  <a:pt x="1044958" y="2690705"/>
                  <a:pt x="1038451" y="2680935"/>
                </a:cubicBezTo>
                <a:cubicBezTo>
                  <a:pt x="1030316" y="2666281"/>
                  <a:pt x="1015673" y="2672794"/>
                  <a:pt x="1007538" y="2677679"/>
                </a:cubicBezTo>
                <a:cubicBezTo>
                  <a:pt x="981507" y="2695590"/>
                  <a:pt x="955475" y="2677679"/>
                  <a:pt x="929444" y="2677679"/>
                </a:cubicBezTo>
                <a:cubicBezTo>
                  <a:pt x="846469" y="2734669"/>
                  <a:pt x="770002" y="2803056"/>
                  <a:pt x="678892" y="2850276"/>
                </a:cubicBezTo>
                <a:cubicBezTo>
                  <a:pt x="662622" y="2860046"/>
                  <a:pt x="646352" y="2868188"/>
                  <a:pt x="628456" y="2871444"/>
                </a:cubicBezTo>
                <a:cubicBezTo>
                  <a:pt x="687026" y="2811198"/>
                  <a:pt x="763494" y="2770491"/>
                  <a:pt x="825318" y="2716758"/>
                </a:cubicBezTo>
                <a:cubicBezTo>
                  <a:pt x="885516" y="2666281"/>
                  <a:pt x="981507" y="2635344"/>
                  <a:pt x="989642" y="2534390"/>
                </a:cubicBezTo>
                <a:cubicBezTo>
                  <a:pt x="1009165" y="2501825"/>
                  <a:pt x="1017300" y="2470887"/>
                  <a:pt x="976626" y="2444835"/>
                </a:cubicBezTo>
                <a:cubicBezTo>
                  <a:pt x="965237" y="2438322"/>
                  <a:pt x="955475" y="2422039"/>
                  <a:pt x="958729" y="2405756"/>
                </a:cubicBezTo>
                <a:cubicBezTo>
                  <a:pt x="958729" y="2405756"/>
                  <a:pt x="958729" y="2404128"/>
                  <a:pt x="958729" y="2404128"/>
                </a:cubicBezTo>
                <a:cubicBezTo>
                  <a:pt x="957102" y="2404128"/>
                  <a:pt x="953848" y="2400871"/>
                  <a:pt x="952221" y="2400871"/>
                </a:cubicBezTo>
                <a:cubicBezTo>
                  <a:pt x="953848" y="2400871"/>
                  <a:pt x="953848" y="2400871"/>
                  <a:pt x="953848" y="2400871"/>
                </a:cubicBezTo>
                <a:cubicBezTo>
                  <a:pt x="903413" y="2365049"/>
                  <a:pt x="862738" y="2314573"/>
                  <a:pt x="826945" y="2259211"/>
                </a:cubicBezTo>
                <a:cubicBezTo>
                  <a:pt x="787898" y="2197336"/>
                  <a:pt x="706550" y="2185939"/>
                  <a:pt x="647979" y="2145232"/>
                </a:cubicBezTo>
                <a:cubicBezTo>
                  <a:pt x="607305" y="2117551"/>
                  <a:pt x="568258" y="2089870"/>
                  <a:pt x="542227" y="2045906"/>
                </a:cubicBezTo>
                <a:cubicBezTo>
                  <a:pt x="519449" y="2005200"/>
                  <a:pt x="467386" y="1993802"/>
                  <a:pt x="441355" y="1953095"/>
                </a:cubicBezTo>
                <a:cubicBezTo>
                  <a:pt x="433220" y="1940068"/>
                  <a:pt x="421831" y="1928670"/>
                  <a:pt x="412070" y="1917272"/>
                </a:cubicBezTo>
                <a:cubicBezTo>
                  <a:pt x="395800" y="1909131"/>
                  <a:pt x="382784" y="1900990"/>
                  <a:pt x="377903" y="1881450"/>
                </a:cubicBezTo>
                <a:cubicBezTo>
                  <a:pt x="373023" y="1874937"/>
                  <a:pt x="366515" y="1868424"/>
                  <a:pt x="361634" y="1860283"/>
                </a:cubicBezTo>
                <a:cubicBezTo>
                  <a:pt x="314452" y="1871681"/>
                  <a:pt x="280286" y="1840743"/>
                  <a:pt x="242866" y="1824460"/>
                </a:cubicBezTo>
                <a:cubicBezTo>
                  <a:pt x="195684" y="1803293"/>
                  <a:pt x="148502" y="1795151"/>
                  <a:pt x="94812" y="1796780"/>
                </a:cubicBezTo>
                <a:cubicBezTo>
                  <a:pt x="50884" y="1798408"/>
                  <a:pt x="5329" y="1788638"/>
                  <a:pt x="448" y="1725135"/>
                </a:cubicBezTo>
                <a:cubicBezTo>
                  <a:pt x="-2806" y="1687685"/>
                  <a:pt x="11837" y="1660004"/>
                  <a:pt x="39495" y="1673030"/>
                </a:cubicBezTo>
                <a:cubicBezTo>
                  <a:pt x="89931" y="1694198"/>
                  <a:pt x="117590" y="1650235"/>
                  <a:pt x="156637" y="1646978"/>
                </a:cubicBezTo>
                <a:cubicBezTo>
                  <a:pt x="163144" y="1617669"/>
                  <a:pt x="189176" y="1617669"/>
                  <a:pt x="211953" y="1611156"/>
                </a:cubicBezTo>
                <a:cubicBezTo>
                  <a:pt x="224969" y="1586732"/>
                  <a:pt x="229850" y="1557423"/>
                  <a:pt x="267270" y="1562307"/>
                </a:cubicBezTo>
                <a:cubicBezTo>
                  <a:pt x="265643" y="1560679"/>
                  <a:pt x="265643" y="1560679"/>
                  <a:pt x="265643" y="1560679"/>
                </a:cubicBezTo>
                <a:cubicBezTo>
                  <a:pt x="268897" y="1534627"/>
                  <a:pt x="237985" y="1508574"/>
                  <a:pt x="257508" y="1476009"/>
                </a:cubicBezTo>
                <a:cubicBezTo>
                  <a:pt x="257508" y="1449956"/>
                  <a:pt x="255881" y="1422275"/>
                  <a:pt x="270524" y="1396223"/>
                </a:cubicBezTo>
                <a:cubicBezTo>
                  <a:pt x="303063" y="1373427"/>
                  <a:pt x="325841" y="1412506"/>
                  <a:pt x="358380" y="1412506"/>
                </a:cubicBezTo>
                <a:cubicBezTo>
                  <a:pt x="364888" y="1404364"/>
                  <a:pt x="369769" y="1396223"/>
                  <a:pt x="377903" y="1388082"/>
                </a:cubicBezTo>
                <a:cubicBezTo>
                  <a:pt x="402308" y="1350631"/>
                  <a:pt x="446236" y="1334348"/>
                  <a:pt x="459252" y="1288757"/>
                </a:cubicBezTo>
                <a:cubicBezTo>
                  <a:pt x="434847" y="1264332"/>
                  <a:pt x="403935" y="1244793"/>
                  <a:pt x="386038" y="1215484"/>
                </a:cubicBezTo>
                <a:cubicBezTo>
                  <a:pt x="368142" y="1187803"/>
                  <a:pt x="345364" y="1150353"/>
                  <a:pt x="374650" y="1119415"/>
                </a:cubicBezTo>
                <a:cubicBezTo>
                  <a:pt x="400681" y="1091735"/>
                  <a:pt x="420205" y="1124300"/>
                  <a:pt x="442982" y="1137327"/>
                </a:cubicBezTo>
                <a:cubicBezTo>
                  <a:pt x="478775" y="1130813"/>
                  <a:pt x="496672" y="1078708"/>
                  <a:pt x="538973" y="1098248"/>
                </a:cubicBezTo>
                <a:cubicBezTo>
                  <a:pt x="551989" y="1091735"/>
                  <a:pt x="565004" y="1081965"/>
                  <a:pt x="578020" y="1078708"/>
                </a:cubicBezTo>
                <a:cubicBezTo>
                  <a:pt x="604051" y="1073824"/>
                  <a:pt x="586155" y="1093363"/>
                  <a:pt x="586155" y="1101504"/>
                </a:cubicBezTo>
                <a:cubicBezTo>
                  <a:pt x="618694" y="1094991"/>
                  <a:pt x="643098" y="1078708"/>
                  <a:pt x="670757" y="1072195"/>
                </a:cubicBezTo>
                <a:cubicBezTo>
                  <a:pt x="677265" y="1059169"/>
                  <a:pt x="690280" y="1049399"/>
                  <a:pt x="703296" y="1033117"/>
                </a:cubicBezTo>
                <a:cubicBezTo>
                  <a:pt x="677265" y="1024975"/>
                  <a:pt x="683773" y="1016834"/>
                  <a:pt x="698415" y="1008692"/>
                </a:cubicBezTo>
                <a:cubicBezTo>
                  <a:pt x="734208" y="987525"/>
                  <a:pt x="763494" y="967985"/>
                  <a:pt x="799287" y="948446"/>
                </a:cubicBezTo>
                <a:cubicBezTo>
                  <a:pt x="841588" y="933792"/>
                  <a:pt x="882262" y="914252"/>
                  <a:pt x="929444" y="925650"/>
                </a:cubicBezTo>
                <a:cubicBezTo>
                  <a:pt x="931071" y="925650"/>
                  <a:pt x="931071" y="925650"/>
                  <a:pt x="931071" y="925650"/>
                </a:cubicBezTo>
                <a:cubicBezTo>
                  <a:pt x="929444" y="878430"/>
                  <a:pt x="966864" y="854006"/>
                  <a:pt x="999403" y="850749"/>
                </a:cubicBezTo>
                <a:cubicBezTo>
                  <a:pt x="1057974" y="844236"/>
                  <a:pt x="1098648" y="808414"/>
                  <a:pt x="1149084" y="788875"/>
                </a:cubicBezTo>
                <a:cubicBezTo>
                  <a:pt x="1158846" y="785618"/>
                  <a:pt x="1168608" y="785618"/>
                  <a:pt x="1178369" y="783990"/>
                </a:cubicBezTo>
                <a:cubicBezTo>
                  <a:pt x="1334558" y="715602"/>
                  <a:pt x="1492373" y="647214"/>
                  <a:pt x="1650189" y="580455"/>
                </a:cubicBezTo>
                <a:cubicBezTo>
                  <a:pt x="1642054" y="575570"/>
                  <a:pt x="1633919" y="572314"/>
                  <a:pt x="1625784" y="569057"/>
                </a:cubicBezTo>
                <a:cubicBezTo>
                  <a:pt x="1603007" y="572314"/>
                  <a:pt x="1581856" y="575570"/>
                  <a:pt x="1555825" y="578827"/>
                </a:cubicBezTo>
                <a:cubicBezTo>
                  <a:pt x="1570467" y="529978"/>
                  <a:pt x="1609515" y="544633"/>
                  <a:pt x="1640427" y="538120"/>
                </a:cubicBezTo>
                <a:cubicBezTo>
                  <a:pt x="1707132" y="502298"/>
                  <a:pt x="1781973" y="494156"/>
                  <a:pt x="1853559" y="477873"/>
                </a:cubicBezTo>
                <a:cubicBezTo>
                  <a:pt x="1887725" y="450193"/>
                  <a:pt x="1928399" y="430653"/>
                  <a:pt x="1970700" y="429025"/>
                </a:cubicBezTo>
                <a:cubicBezTo>
                  <a:pt x="2011374" y="427397"/>
                  <a:pt x="2021136" y="386690"/>
                  <a:pt x="2053675" y="378548"/>
                </a:cubicBezTo>
                <a:cubicBezTo>
                  <a:pt x="2108992" y="363894"/>
                  <a:pt x="2161055" y="332957"/>
                  <a:pt x="2226134" y="355752"/>
                </a:cubicBezTo>
                <a:cubicBezTo>
                  <a:pt x="2278196" y="337841"/>
                  <a:pt x="2322124" y="318302"/>
                  <a:pt x="2375814" y="310161"/>
                </a:cubicBezTo>
                <a:cubicBezTo>
                  <a:pt x="2375814" y="310161"/>
                  <a:pt x="2372560" y="310161"/>
                  <a:pt x="2372560" y="310161"/>
                </a:cubicBezTo>
                <a:cubicBezTo>
                  <a:pt x="2458789" y="238516"/>
                  <a:pt x="2561288" y="230375"/>
                  <a:pt x="2667041" y="236888"/>
                </a:cubicBezTo>
                <a:cubicBezTo>
                  <a:pt x="2725611" y="197809"/>
                  <a:pt x="2792317" y="186411"/>
                  <a:pt x="2857395" y="171757"/>
                </a:cubicBezTo>
                <a:cubicBezTo>
                  <a:pt x="2863903" y="170129"/>
                  <a:pt x="2863903" y="170129"/>
                  <a:pt x="2863903" y="170129"/>
                </a:cubicBezTo>
                <a:cubicBezTo>
                  <a:pt x="2868784" y="171757"/>
                  <a:pt x="2868784" y="171757"/>
                  <a:pt x="2868784" y="171757"/>
                </a:cubicBezTo>
                <a:cubicBezTo>
                  <a:pt x="2946878" y="145704"/>
                  <a:pt x="3026599" y="152218"/>
                  <a:pt x="3106321" y="155474"/>
                </a:cubicBezTo>
                <a:cubicBezTo>
                  <a:pt x="3247866" y="114767"/>
                  <a:pt x="3391039" y="70804"/>
                  <a:pt x="3534212" y="31725"/>
                </a:cubicBezTo>
                <a:cubicBezTo>
                  <a:pt x="3586275" y="17070"/>
                  <a:pt x="3639965" y="18699"/>
                  <a:pt x="3693654" y="41495"/>
                </a:cubicBezTo>
                <a:cubicBezTo>
                  <a:pt x="3732702" y="56149"/>
                  <a:pt x="3773376" y="59406"/>
                  <a:pt x="3815677" y="49636"/>
                </a:cubicBezTo>
                <a:cubicBezTo>
                  <a:pt x="3848216" y="18699"/>
                  <a:pt x="3893771" y="8929"/>
                  <a:pt x="3931191" y="788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80005" y="1441801"/>
            <a:ext cx="3772545" cy="818686"/>
          </a:xfrm>
        </p:spPr>
        <p:txBody>
          <a:bodyPr anchor="t" anchorCtr="0">
            <a:spAutoFit/>
          </a:bodyPr>
          <a:lstStyle>
            <a:lvl1pPr algn="l">
              <a:lnSpc>
                <a:spcPct val="95000"/>
              </a:lnSpc>
              <a:defRPr sz="2800" b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80000" y="3237531"/>
            <a:ext cx="3083858" cy="40011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 b="0">
                <a:solidFill>
                  <a:schemeClr val="bg2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36358" y="4737567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083" y="441436"/>
            <a:ext cx="1767600" cy="45584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083" y="4730683"/>
            <a:ext cx="1058400" cy="15194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F25B1374-297B-A880-A342-C2A343E3B017}"/>
              </a:ext>
            </a:extLst>
          </p:cNvPr>
          <p:cNvGrpSpPr/>
          <p:nvPr userDrawn="1"/>
        </p:nvGrpSpPr>
        <p:grpSpPr>
          <a:xfrm>
            <a:off x="3519551" y="1119451"/>
            <a:ext cx="2112361" cy="2113676"/>
            <a:chOff x="899592" y="1275606"/>
            <a:chExt cx="2112361" cy="2113676"/>
          </a:xfrm>
        </p:grpSpPr>
        <p:sp>
          <p:nvSpPr>
            <p:cNvPr id="18" name="Oval 80">
              <a:extLst>
                <a:ext uri="{FF2B5EF4-FFF2-40B4-BE49-F238E27FC236}">
                  <a16:creationId xmlns:a16="http://schemas.microsoft.com/office/drawing/2014/main" id="{052C7121-FA0D-9E15-4FEE-E12A864A17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80">
              <a:extLst>
                <a:ext uri="{FF2B5EF4-FFF2-40B4-BE49-F238E27FC236}">
                  <a16:creationId xmlns:a16="http://schemas.microsoft.com/office/drawing/2014/main" id="{90AE0BD7-1139-959F-CFD3-8C05CE5839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82DC840-F245-5958-FAAA-9DE38BF0A967}"/>
              </a:ext>
            </a:extLst>
          </p:cNvPr>
          <p:cNvGrpSpPr/>
          <p:nvPr userDrawn="1"/>
        </p:nvGrpSpPr>
        <p:grpSpPr>
          <a:xfrm>
            <a:off x="6150991" y="1119451"/>
            <a:ext cx="2112361" cy="2113676"/>
            <a:chOff x="899592" y="1275606"/>
            <a:chExt cx="2112361" cy="2113676"/>
          </a:xfrm>
        </p:grpSpPr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D4792E51-7F56-2991-D477-B4E9EDBB6A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Oval 80">
              <a:extLst>
                <a:ext uri="{FF2B5EF4-FFF2-40B4-BE49-F238E27FC236}">
                  <a16:creationId xmlns:a16="http://schemas.microsoft.com/office/drawing/2014/main" id="{E1954412-39B1-A2EB-0D82-F77BD479B6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36242CA-B182-31FE-D64E-E63826BCB641}"/>
              </a:ext>
            </a:extLst>
          </p:cNvPr>
          <p:cNvGrpSpPr/>
          <p:nvPr userDrawn="1"/>
        </p:nvGrpSpPr>
        <p:grpSpPr>
          <a:xfrm>
            <a:off x="888111" y="1119451"/>
            <a:ext cx="2112361" cy="2113676"/>
            <a:chOff x="899592" y="1275606"/>
            <a:chExt cx="2112361" cy="2113676"/>
          </a:xfrm>
        </p:grpSpPr>
        <p:sp>
          <p:nvSpPr>
            <p:cNvPr id="14" name="Oval 80">
              <a:extLst>
                <a:ext uri="{FF2B5EF4-FFF2-40B4-BE49-F238E27FC236}">
                  <a16:creationId xmlns:a16="http://schemas.microsoft.com/office/drawing/2014/main" id="{D5DC9A69-64A1-2971-AFA2-6AF11E5EF4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80">
              <a:extLst>
                <a:ext uri="{FF2B5EF4-FFF2-40B4-BE49-F238E27FC236}">
                  <a16:creationId xmlns:a16="http://schemas.microsoft.com/office/drawing/2014/main" id="{0155C0A9-F48D-BF35-7351-1AE765B77F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3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e 25">
            <a:extLst>
              <a:ext uri="{FF2B5EF4-FFF2-40B4-BE49-F238E27FC236}">
                <a16:creationId xmlns:a16="http://schemas.microsoft.com/office/drawing/2014/main" id="{0912761E-C27C-39CD-7C02-967A76F1D788}"/>
              </a:ext>
            </a:extLst>
          </p:cNvPr>
          <p:cNvGrpSpPr/>
          <p:nvPr userDrawn="1"/>
        </p:nvGrpSpPr>
        <p:grpSpPr>
          <a:xfrm>
            <a:off x="450081" y="1165823"/>
            <a:ext cx="8243842" cy="1722084"/>
            <a:chOff x="888110" y="1119451"/>
            <a:chExt cx="10118441" cy="2113676"/>
          </a:xfrm>
        </p:grpSpPr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F25B1374-297B-A880-A342-C2A343E3B017}"/>
                </a:ext>
              </a:extLst>
            </p:cNvPr>
            <p:cNvGrpSpPr/>
            <p:nvPr userDrawn="1"/>
          </p:nvGrpSpPr>
          <p:grpSpPr>
            <a:xfrm>
              <a:off x="3519550" y="1119451"/>
              <a:ext cx="2112361" cy="2113676"/>
              <a:chOff x="899592" y="1275606"/>
              <a:chExt cx="2112361" cy="2113676"/>
            </a:xfrm>
          </p:grpSpPr>
          <p:sp>
            <p:nvSpPr>
              <p:cNvPr id="18" name="Oval 80">
                <a:extLst>
                  <a:ext uri="{FF2B5EF4-FFF2-40B4-BE49-F238E27FC236}">
                    <a16:creationId xmlns:a16="http://schemas.microsoft.com/office/drawing/2014/main" id="{052C7121-FA0D-9E15-4FEE-E12A864A17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Oval 80">
                <a:extLst>
                  <a:ext uri="{FF2B5EF4-FFF2-40B4-BE49-F238E27FC236}">
                    <a16:creationId xmlns:a16="http://schemas.microsoft.com/office/drawing/2014/main" id="{90AE0BD7-1139-959F-CFD3-8C05CE5839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782DC840-F245-5958-FAAA-9DE38BF0A967}"/>
                </a:ext>
              </a:extLst>
            </p:cNvPr>
            <p:cNvGrpSpPr/>
            <p:nvPr userDrawn="1"/>
          </p:nvGrpSpPr>
          <p:grpSpPr>
            <a:xfrm>
              <a:off x="6150990" y="1119451"/>
              <a:ext cx="2112361" cy="2113676"/>
              <a:chOff x="899592" y="1275606"/>
              <a:chExt cx="2112361" cy="2113676"/>
            </a:xfrm>
          </p:grpSpPr>
          <p:sp>
            <p:nvSpPr>
              <p:cNvPr id="21" name="Oval 80">
                <a:extLst>
                  <a:ext uri="{FF2B5EF4-FFF2-40B4-BE49-F238E27FC236}">
                    <a16:creationId xmlns:a16="http://schemas.microsoft.com/office/drawing/2014/main" id="{D4792E51-7F56-2991-D477-B4E9EDBB6A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Oval 80">
                <a:extLst>
                  <a:ext uri="{FF2B5EF4-FFF2-40B4-BE49-F238E27FC236}">
                    <a16:creationId xmlns:a16="http://schemas.microsoft.com/office/drawing/2014/main" id="{E1954412-39B1-A2EB-0D82-F77BD479B6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B36242CA-B182-31FE-D64E-E63826BCB641}"/>
                </a:ext>
              </a:extLst>
            </p:cNvPr>
            <p:cNvGrpSpPr/>
            <p:nvPr userDrawn="1"/>
          </p:nvGrpSpPr>
          <p:grpSpPr>
            <a:xfrm>
              <a:off x="888110" y="1119451"/>
              <a:ext cx="2112361" cy="2113676"/>
              <a:chOff x="899592" y="1275606"/>
              <a:chExt cx="2112361" cy="2113676"/>
            </a:xfrm>
          </p:grpSpPr>
          <p:sp>
            <p:nvSpPr>
              <p:cNvPr id="14" name="Oval 80">
                <a:extLst>
                  <a:ext uri="{FF2B5EF4-FFF2-40B4-BE49-F238E27FC236}">
                    <a16:creationId xmlns:a16="http://schemas.microsoft.com/office/drawing/2014/main" id="{D5DC9A69-64A1-2971-AFA2-6AF11E5EF44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Oval 80">
                <a:extLst>
                  <a:ext uri="{FF2B5EF4-FFF2-40B4-BE49-F238E27FC236}">
                    <a16:creationId xmlns:a16="http://schemas.microsoft.com/office/drawing/2014/main" id="{0155C0A9-F48D-BF35-7351-1AE765B77FD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F5BB5A1B-BCBC-4401-6BAB-8FA2CAE0EA45}"/>
                </a:ext>
              </a:extLst>
            </p:cNvPr>
            <p:cNvGrpSpPr/>
            <p:nvPr userDrawn="1"/>
          </p:nvGrpSpPr>
          <p:grpSpPr>
            <a:xfrm>
              <a:off x="8894190" y="1119451"/>
              <a:ext cx="2112361" cy="2113676"/>
              <a:chOff x="899592" y="1275606"/>
              <a:chExt cx="2112361" cy="2113676"/>
            </a:xfrm>
          </p:grpSpPr>
          <p:sp>
            <p:nvSpPr>
              <p:cNvPr id="23" name="Oval 80">
                <a:extLst>
                  <a:ext uri="{FF2B5EF4-FFF2-40B4-BE49-F238E27FC236}">
                    <a16:creationId xmlns:a16="http://schemas.microsoft.com/office/drawing/2014/main" id="{94C64313-0AA1-A55F-936D-B1A17923A1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Oval 80">
                <a:extLst>
                  <a:ext uri="{FF2B5EF4-FFF2-40B4-BE49-F238E27FC236}">
                    <a16:creationId xmlns:a16="http://schemas.microsoft.com/office/drawing/2014/main" id="{2265996F-12C2-FCCF-CFFE-220B2AF714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62514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Espace réservé pour une image  5">
            <a:extLst>
              <a:ext uri="{FF2B5EF4-FFF2-40B4-BE49-F238E27FC236}">
                <a16:creationId xmlns:a16="http://schemas.microsoft.com/office/drawing/2014/main" id="{3A17DACD-CB51-DA98-A21A-0FF6F876E5D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06439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C1CE4A70-1A67-2D66-28C7-D6F8B86416D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5036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AA229E14-D7D2-88ED-4B1D-D73798EDD9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18534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2785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rme libre 16">
            <a:extLst>
              <a:ext uri="{FF2B5EF4-FFF2-40B4-BE49-F238E27FC236}">
                <a16:creationId xmlns:a16="http://schemas.microsoft.com/office/drawing/2014/main" id="{90F6592E-3B0F-BAC2-25AF-55D9FC28179B}"/>
              </a:ext>
            </a:extLst>
          </p:cNvPr>
          <p:cNvSpPr/>
          <p:nvPr userDrawn="1"/>
        </p:nvSpPr>
        <p:spPr>
          <a:xfrm>
            <a:off x="0" y="2254086"/>
            <a:ext cx="9144000" cy="2405896"/>
          </a:xfrm>
          <a:custGeom>
            <a:avLst/>
            <a:gdLst>
              <a:gd name="connsiteX0" fmla="*/ 0 w 9144000"/>
              <a:gd name="connsiteY0" fmla="*/ 0 h 2405896"/>
              <a:gd name="connsiteX1" fmla="*/ 978148 w 9144000"/>
              <a:gd name="connsiteY1" fmla="*/ 0 h 2405896"/>
              <a:gd name="connsiteX2" fmla="*/ 1034029 w 9144000"/>
              <a:gd name="connsiteY2" fmla="*/ 180020 h 2405896"/>
              <a:gd name="connsiteX3" fmla="*/ 1944291 w 9144000"/>
              <a:gd name="connsiteY3" fmla="*/ 783382 h 2405896"/>
              <a:gd name="connsiteX4" fmla="*/ 2854553 w 9144000"/>
              <a:gd name="connsiteY4" fmla="*/ 180020 h 2405896"/>
              <a:gd name="connsiteX5" fmla="*/ 2910435 w 9144000"/>
              <a:gd name="connsiteY5" fmla="*/ 0 h 2405896"/>
              <a:gd name="connsiteX6" fmla="*/ 3609588 w 9144000"/>
              <a:gd name="connsiteY6" fmla="*/ 0 h 2405896"/>
              <a:gd name="connsiteX7" fmla="*/ 3665469 w 9144000"/>
              <a:gd name="connsiteY7" fmla="*/ 180020 h 2405896"/>
              <a:gd name="connsiteX8" fmla="*/ 4575731 w 9144000"/>
              <a:gd name="connsiteY8" fmla="*/ 783382 h 2405896"/>
              <a:gd name="connsiteX9" fmla="*/ 5485994 w 9144000"/>
              <a:gd name="connsiteY9" fmla="*/ 180020 h 2405896"/>
              <a:gd name="connsiteX10" fmla="*/ 5541875 w 9144000"/>
              <a:gd name="connsiteY10" fmla="*/ 0 h 2405896"/>
              <a:gd name="connsiteX11" fmla="*/ 6241028 w 9144000"/>
              <a:gd name="connsiteY11" fmla="*/ 0 h 2405896"/>
              <a:gd name="connsiteX12" fmla="*/ 6296909 w 9144000"/>
              <a:gd name="connsiteY12" fmla="*/ 180020 h 2405896"/>
              <a:gd name="connsiteX13" fmla="*/ 7207171 w 9144000"/>
              <a:gd name="connsiteY13" fmla="*/ 783382 h 2405896"/>
              <a:gd name="connsiteX14" fmla="*/ 8117434 w 9144000"/>
              <a:gd name="connsiteY14" fmla="*/ 180020 h 2405896"/>
              <a:gd name="connsiteX15" fmla="*/ 8173315 w 9144000"/>
              <a:gd name="connsiteY15" fmla="*/ 0 h 2405896"/>
              <a:gd name="connsiteX16" fmla="*/ 9144000 w 9144000"/>
              <a:gd name="connsiteY16" fmla="*/ 0 h 2405896"/>
              <a:gd name="connsiteX17" fmla="*/ 9144000 w 9144000"/>
              <a:gd name="connsiteY17" fmla="*/ 2405896 h 2405896"/>
              <a:gd name="connsiteX18" fmla="*/ 0 w 9144000"/>
              <a:gd name="connsiteY18" fmla="*/ 2405896 h 2405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4000" h="2405896">
                <a:moveTo>
                  <a:pt x="0" y="0"/>
                </a:moveTo>
                <a:lnTo>
                  <a:pt x="978148" y="0"/>
                </a:lnTo>
                <a:lnTo>
                  <a:pt x="1034029" y="180020"/>
                </a:lnTo>
                <a:cubicBezTo>
                  <a:pt x="1184000" y="534591"/>
                  <a:pt x="1535091" y="783382"/>
                  <a:pt x="1944291" y="783382"/>
                </a:cubicBezTo>
                <a:cubicBezTo>
                  <a:pt x="2353491" y="783382"/>
                  <a:pt x="2704583" y="534591"/>
                  <a:pt x="2854553" y="180020"/>
                </a:cubicBezTo>
                <a:lnTo>
                  <a:pt x="2910435" y="0"/>
                </a:lnTo>
                <a:lnTo>
                  <a:pt x="3609588" y="0"/>
                </a:lnTo>
                <a:lnTo>
                  <a:pt x="3665469" y="180020"/>
                </a:lnTo>
                <a:cubicBezTo>
                  <a:pt x="3815440" y="534591"/>
                  <a:pt x="4166531" y="783382"/>
                  <a:pt x="4575731" y="783382"/>
                </a:cubicBezTo>
                <a:cubicBezTo>
                  <a:pt x="4984931" y="783382"/>
                  <a:pt x="5336023" y="534591"/>
                  <a:pt x="5485994" y="180020"/>
                </a:cubicBezTo>
                <a:lnTo>
                  <a:pt x="5541875" y="0"/>
                </a:lnTo>
                <a:lnTo>
                  <a:pt x="6241028" y="0"/>
                </a:lnTo>
                <a:lnTo>
                  <a:pt x="6296909" y="180020"/>
                </a:lnTo>
                <a:cubicBezTo>
                  <a:pt x="6446880" y="534591"/>
                  <a:pt x="6797971" y="783382"/>
                  <a:pt x="7207171" y="783382"/>
                </a:cubicBezTo>
                <a:cubicBezTo>
                  <a:pt x="7616371" y="783382"/>
                  <a:pt x="7967463" y="534591"/>
                  <a:pt x="8117434" y="180020"/>
                </a:cubicBezTo>
                <a:lnTo>
                  <a:pt x="8173315" y="0"/>
                </a:lnTo>
                <a:lnTo>
                  <a:pt x="9144000" y="0"/>
                </a:lnTo>
                <a:lnTo>
                  <a:pt x="9144000" y="2405896"/>
                </a:lnTo>
                <a:lnTo>
                  <a:pt x="0" y="24058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51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20282" y="1131590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1923741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796136" y="1131590"/>
            <a:ext cx="296098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5412949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1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20" y="612001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1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286D89A0-F3CE-7828-B34B-8C462E27A2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87900" y="193675"/>
            <a:ext cx="4105275" cy="4465638"/>
          </a:xfrm>
        </p:spPr>
        <p:txBody>
          <a:bodyPr/>
          <a:lstStyle/>
          <a:p>
            <a:endParaRPr lang="en-US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52647D7-5C0D-E87D-2DA8-D38CA3210BAA}"/>
              </a:ext>
            </a:extLst>
          </p:cNvPr>
          <p:cNvCxnSpPr>
            <a:cxnSpLocks/>
          </p:cNvCxnSpPr>
          <p:nvPr userDrawn="1"/>
        </p:nvCxnSpPr>
        <p:spPr>
          <a:xfrm>
            <a:off x="231735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3280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1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20" y="612001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1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2317358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7322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63" y="194400"/>
            <a:ext cx="3421868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23907" y="612001"/>
            <a:ext cx="3421532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323529" y="1131590"/>
            <a:ext cx="3421531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1882091" y="555526"/>
            <a:ext cx="3048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066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6035" y="194400"/>
            <a:ext cx="5009957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646281" y="612001"/>
            <a:ext cx="5009464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2983365" y="555526"/>
            <a:ext cx="3352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0D88D6E-B44C-19F0-91AC-56BAA849AB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99260" y="530051"/>
            <a:ext cx="1816041" cy="3926632"/>
          </a:xfrm>
          <a:custGeom>
            <a:avLst/>
            <a:gdLst>
              <a:gd name="connsiteX0" fmla="*/ 1997791 w 2516552"/>
              <a:gd name="connsiteY0" fmla="*/ 12 h 5441271"/>
              <a:gd name="connsiteX1" fmla="*/ 2004211 w 2516552"/>
              <a:gd name="connsiteY1" fmla="*/ 566 h 5441271"/>
              <a:gd name="connsiteX2" fmla="*/ 2267990 w 2516552"/>
              <a:gd name="connsiteY2" fmla="*/ 566 h 5441271"/>
              <a:gd name="connsiteX3" fmla="*/ 2516552 w 2516552"/>
              <a:gd name="connsiteY3" fmla="*/ 261335 h 5441271"/>
              <a:gd name="connsiteX4" fmla="*/ 2516552 w 2516552"/>
              <a:gd name="connsiteY4" fmla="*/ 5170375 h 5441271"/>
              <a:gd name="connsiteX5" fmla="*/ 2255309 w 2516552"/>
              <a:gd name="connsiteY5" fmla="*/ 5441271 h 5441271"/>
              <a:gd name="connsiteX6" fmla="*/ 269354 w 2516552"/>
              <a:gd name="connsiteY6" fmla="*/ 5441271 h 5441271"/>
              <a:gd name="connsiteX7" fmla="*/ 501 w 2516552"/>
              <a:gd name="connsiteY7" fmla="*/ 5157717 h 5441271"/>
              <a:gd name="connsiteX8" fmla="*/ 501 w 2516552"/>
              <a:gd name="connsiteY8" fmla="*/ 317034 h 5441271"/>
              <a:gd name="connsiteX9" fmla="*/ 61373 w 2516552"/>
              <a:gd name="connsiteY9" fmla="*/ 101836 h 5441271"/>
              <a:gd name="connsiteX10" fmla="*/ 269354 w 2516552"/>
              <a:gd name="connsiteY10" fmla="*/ 566 h 5441271"/>
              <a:gd name="connsiteX11" fmla="*/ 512842 w 2516552"/>
              <a:gd name="connsiteY11" fmla="*/ 566 h 5441271"/>
              <a:gd name="connsiteX12" fmla="*/ 566105 w 2516552"/>
              <a:gd name="connsiteY12" fmla="*/ 41074 h 5441271"/>
              <a:gd name="connsiteX13" fmla="*/ 566105 w 2516552"/>
              <a:gd name="connsiteY13" fmla="*/ 81582 h 5441271"/>
              <a:gd name="connsiteX14" fmla="*/ 713213 w 2516552"/>
              <a:gd name="connsiteY14" fmla="*/ 200574 h 5441271"/>
              <a:gd name="connsiteX15" fmla="*/ 1824131 w 2516552"/>
              <a:gd name="connsiteY15" fmla="*/ 200574 h 5441271"/>
              <a:gd name="connsiteX16" fmla="*/ 1958557 w 2516552"/>
              <a:gd name="connsiteY16" fmla="*/ 73987 h 5441271"/>
              <a:gd name="connsiteX17" fmla="*/ 1958557 w 2516552"/>
              <a:gd name="connsiteY17" fmla="*/ 33479 h 5441271"/>
              <a:gd name="connsiteX18" fmla="*/ 1997791 w 2516552"/>
              <a:gd name="connsiteY18" fmla="*/ 12 h 5441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6552" h="5441271">
                <a:moveTo>
                  <a:pt x="1997791" y="12"/>
                </a:moveTo>
                <a:cubicBezTo>
                  <a:pt x="2001675" y="92"/>
                  <a:pt x="2004211" y="566"/>
                  <a:pt x="2004211" y="566"/>
                </a:cubicBezTo>
                <a:cubicBezTo>
                  <a:pt x="2004211" y="566"/>
                  <a:pt x="2006747" y="566"/>
                  <a:pt x="2267990" y="566"/>
                </a:cubicBezTo>
                <a:cubicBezTo>
                  <a:pt x="2511479" y="23352"/>
                  <a:pt x="2516552" y="261335"/>
                  <a:pt x="2516552" y="261335"/>
                </a:cubicBezTo>
                <a:cubicBezTo>
                  <a:pt x="2516552" y="261335"/>
                  <a:pt x="2516552" y="4904543"/>
                  <a:pt x="2516552" y="5170375"/>
                </a:cubicBezTo>
                <a:cubicBezTo>
                  <a:pt x="2501334" y="5438740"/>
                  <a:pt x="2255309" y="5441271"/>
                  <a:pt x="2255309" y="5441271"/>
                </a:cubicBezTo>
                <a:cubicBezTo>
                  <a:pt x="2255309" y="5441271"/>
                  <a:pt x="558496" y="5441271"/>
                  <a:pt x="269354" y="5441271"/>
                </a:cubicBezTo>
                <a:cubicBezTo>
                  <a:pt x="-14717" y="5410890"/>
                  <a:pt x="501" y="5157717"/>
                  <a:pt x="501" y="5157717"/>
                </a:cubicBezTo>
                <a:cubicBezTo>
                  <a:pt x="501" y="5157717"/>
                  <a:pt x="501" y="372732"/>
                  <a:pt x="501" y="317034"/>
                </a:cubicBezTo>
                <a:cubicBezTo>
                  <a:pt x="501" y="258804"/>
                  <a:pt x="-9644" y="195510"/>
                  <a:pt x="61373" y="101836"/>
                </a:cubicBezTo>
                <a:cubicBezTo>
                  <a:pt x="134927" y="-1965"/>
                  <a:pt x="269354" y="566"/>
                  <a:pt x="269354" y="566"/>
                </a:cubicBezTo>
                <a:cubicBezTo>
                  <a:pt x="269354" y="566"/>
                  <a:pt x="457043" y="566"/>
                  <a:pt x="512842" y="566"/>
                </a:cubicBezTo>
                <a:cubicBezTo>
                  <a:pt x="566105" y="566"/>
                  <a:pt x="566105" y="41074"/>
                  <a:pt x="566105" y="41074"/>
                </a:cubicBezTo>
                <a:cubicBezTo>
                  <a:pt x="566105" y="41074"/>
                  <a:pt x="566105" y="38542"/>
                  <a:pt x="566105" y="81582"/>
                </a:cubicBezTo>
                <a:cubicBezTo>
                  <a:pt x="583860" y="205637"/>
                  <a:pt x="713213" y="200574"/>
                  <a:pt x="713213" y="200574"/>
                </a:cubicBezTo>
                <a:cubicBezTo>
                  <a:pt x="713213" y="200574"/>
                  <a:pt x="1702386" y="200574"/>
                  <a:pt x="1824131" y="200574"/>
                </a:cubicBezTo>
                <a:cubicBezTo>
                  <a:pt x="1943339" y="192978"/>
                  <a:pt x="1958557" y="73987"/>
                  <a:pt x="1958557" y="73987"/>
                </a:cubicBezTo>
                <a:cubicBezTo>
                  <a:pt x="1958557" y="73987"/>
                  <a:pt x="1958557" y="73987"/>
                  <a:pt x="1958557" y="33479"/>
                </a:cubicBezTo>
                <a:cubicBezTo>
                  <a:pt x="1962362" y="3098"/>
                  <a:pt x="1986140" y="-225"/>
                  <a:pt x="1997791" y="1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F8EEA7D8-F067-CAB5-3125-4A2F2C4E1E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541" y="1130245"/>
            <a:ext cx="5436604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1440094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2">
            <a:extLst>
              <a:ext uri="{FF2B5EF4-FFF2-40B4-BE49-F238E27FC236}">
                <a16:creationId xmlns:a16="http://schemas.microsoft.com/office/drawing/2014/main" id="{108FBE49-5830-6547-BA9A-24BB80753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568325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80005" y="1441801"/>
            <a:ext cx="3772545" cy="818686"/>
          </a:xfrm>
        </p:spPr>
        <p:txBody>
          <a:bodyPr anchor="t" anchorCtr="0">
            <a:spAutoFit/>
          </a:bodyPr>
          <a:lstStyle>
            <a:lvl1pPr algn="l">
              <a:lnSpc>
                <a:spcPct val="95000"/>
              </a:lnSpc>
              <a:defRPr sz="2800" b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80000" y="3237531"/>
            <a:ext cx="3083858" cy="40011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 b="0">
                <a:solidFill>
                  <a:schemeClr val="bg2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36358" y="4737567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083" y="441436"/>
            <a:ext cx="1767600" cy="45584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98332" y="1261359"/>
            <a:ext cx="3582440" cy="3163648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7083" y="4730683"/>
            <a:ext cx="1058400" cy="15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95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B69CC2F4-78BA-1CA2-691C-D505603BF66A}"/>
              </a:ext>
            </a:extLst>
          </p:cNvPr>
          <p:cNvGrpSpPr/>
          <p:nvPr userDrawn="1"/>
        </p:nvGrpSpPr>
        <p:grpSpPr>
          <a:xfrm>
            <a:off x="0" y="6724"/>
            <a:ext cx="9144000" cy="5143500"/>
            <a:chOff x="0" y="0"/>
            <a:chExt cx="9144000" cy="5143500"/>
          </a:xfrm>
        </p:grpSpPr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E09062F6-FD2A-385C-AEDE-79EF6CECD2B4}"/>
                </a:ext>
              </a:extLst>
            </p:cNvPr>
            <p:cNvGrpSpPr/>
            <p:nvPr userDrawn="1"/>
          </p:nvGrpSpPr>
          <p:grpSpPr>
            <a:xfrm>
              <a:off x="0" y="0"/>
              <a:ext cx="9144000" cy="5143500"/>
              <a:chOff x="0" y="0"/>
              <a:chExt cx="12192000" cy="6858000"/>
            </a:xfrm>
          </p:grpSpPr>
          <p:pic>
            <p:nvPicPr>
              <p:cNvPr id="7" name="Graphique 6">
                <a:extLst>
                  <a:ext uri="{FF2B5EF4-FFF2-40B4-BE49-F238E27FC236}">
                    <a16:creationId xmlns:a16="http://schemas.microsoft.com/office/drawing/2014/main" id="{95A132F7-9EC8-857C-A14D-1F6B52AC108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  <p:pic>
            <p:nvPicPr>
              <p:cNvPr id="10" name="Image 9">
                <a:extLst>
                  <a:ext uri="{FF2B5EF4-FFF2-40B4-BE49-F238E27FC236}">
                    <a16:creationId xmlns:a16="http://schemas.microsoft.com/office/drawing/2014/main" id="{3D44E522-8242-C29D-694F-3E5E6DD3F8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153339" y="1609457"/>
                <a:ext cx="7885322" cy="3122900"/>
              </a:xfrm>
              <a:prstGeom prst="rect">
                <a:avLst/>
              </a:prstGeom>
            </p:spPr>
          </p:pic>
          <p:pic>
            <p:nvPicPr>
              <p:cNvPr id="11" name="Image 10">
                <a:extLst>
                  <a:ext uri="{FF2B5EF4-FFF2-40B4-BE49-F238E27FC236}">
                    <a16:creationId xmlns:a16="http://schemas.microsoft.com/office/drawing/2014/main" id="{89839DE1-8DA0-04E6-DED5-10744C4625D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63965"/>
              <a:stretch/>
            </p:blipFill>
            <p:spPr>
              <a:xfrm>
                <a:off x="339337" y="5766318"/>
                <a:ext cx="11513327" cy="942287"/>
              </a:xfrm>
              <a:prstGeom prst="rect">
                <a:avLst/>
              </a:prstGeom>
            </p:spPr>
          </p:pic>
        </p:grpSp>
        <p:sp>
          <p:nvSpPr>
            <p:cNvPr id="4" name="Shape 190">
              <a:hlinkClick r:id="rId5"/>
              <a:extLst>
                <a:ext uri="{FF2B5EF4-FFF2-40B4-BE49-F238E27FC236}">
                  <a16:creationId xmlns:a16="http://schemas.microsoft.com/office/drawing/2014/main" id="{21C28530-CE5D-8A32-3C0E-6C7402E7967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867480" y="3516214"/>
              <a:ext cx="1409040" cy="148823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2000" b="1" i="0" u="none" strike="noStrike" cap="all" baseline="0">
                  <a:solidFill>
                    <a:schemeClr val="accent1"/>
                  </a:solidFill>
                  <a:latin typeface="Arial Narrow" panose="020B0606020202030204" pitchFamily="34" charset="0"/>
                  <a:ea typeface="Arial Narrow" panose="020B0606020202030204" pitchFamily="34" charset="0"/>
                  <a:cs typeface="Arial"/>
                  <a:sym typeface="Arial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fr-FR" sz="1200" b="1" i="0" cap="none">
                  <a:solidFill>
                    <a:schemeClr val="accent1"/>
                  </a:solidFill>
                  <a:latin typeface="Montserrat SemiBold" pitchFamily="2" charset="77"/>
                  <a:ea typeface="Cabin"/>
                  <a:cs typeface="Cabin"/>
                  <a:sym typeface="Cabin"/>
                </a:rPr>
                <a:t>groupeBPCE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6740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2E3A86-04A7-326C-F156-5023F627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>
            <a:extLst>
              <a:ext uri="{FF2B5EF4-FFF2-40B4-BE49-F238E27FC236}">
                <a16:creationId xmlns:a16="http://schemas.microsoft.com/office/drawing/2014/main" id="{F3BB0A96-796C-B9C4-582E-DE0608A732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0026807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E96D1DD6-0F8B-40C0-9273-5935AAE8EF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E96D1DD6-0F8B-40C0-9273-5935AAE8EF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F11EBEE-1535-4CEF-9029-D77D047CEE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" y="9"/>
            <a:ext cx="119063" cy="119063"/>
          </a:xfrm>
          <a:prstGeom prst="rect">
            <a:avLst/>
          </a:prstGeom>
          <a:solidFill>
            <a:srgbClr val="7197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FontTx/>
              <a:buNone/>
            </a:pPr>
            <a:endParaRPr lang="fr-FR" sz="165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re 1">
            <a:extLst>
              <a:ext uri="{FF2B5EF4-FFF2-40B4-BE49-F238E27FC236}">
                <a16:creationId xmlns:a16="http://schemas.microsoft.com/office/drawing/2014/main" id="{ABA9192F-B239-5B44-21C6-A94713D53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  <a:prstGeom prst="rect">
            <a:avLst/>
          </a:prstGeom>
        </p:spPr>
        <p:txBody>
          <a:bodyPr anchor="ctr"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Espace réservé du texte 52">
            <a:extLst>
              <a:ext uri="{FF2B5EF4-FFF2-40B4-BE49-F238E27FC236}">
                <a16:creationId xmlns:a16="http://schemas.microsoft.com/office/drawing/2014/main" id="{0D5FD508-EE1B-B96C-42AB-344CBCA0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52" y="612001"/>
            <a:ext cx="7704098" cy="288032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55815BFD-ED8A-8FE2-C277-63498F79EBB5}"/>
              </a:ext>
            </a:extLst>
          </p:cNvPr>
          <p:cNvCxnSpPr>
            <a:cxnSpLocks/>
          </p:cNvCxnSpPr>
          <p:nvPr userDrawn="1"/>
        </p:nvCxnSpPr>
        <p:spPr>
          <a:xfrm>
            <a:off x="4387588" y="57076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232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"/>
              <a:t>Cliquez pour modifier les styles du texte du masque</a:t>
            </a:r>
          </a:p>
          <a:p>
            <a:pPr lvl="1"/>
            <a:r>
              <a:rPr lang="fr"/>
              <a:t>Deuxième niveau</a:t>
            </a:r>
          </a:p>
          <a:p>
            <a:pPr lvl="2"/>
            <a:r>
              <a:rPr lang="fr"/>
              <a:t>Troisième niveau</a:t>
            </a:r>
          </a:p>
          <a:p>
            <a:pPr lvl="3"/>
            <a:r>
              <a:rPr lang="fr"/>
              <a:t>Quatrième niveau</a:t>
            </a:r>
          </a:p>
          <a:p>
            <a:pPr lvl="4"/>
            <a:r>
              <a:rPr lang="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D27D85A-E0D5-425F-B2A8-55E347C2077B}" type="datetimeFigureOut">
              <a:rPr lang="en-US" smtClean="0"/>
              <a:pPr/>
              <a:t>6/3/26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CD031-D4DB-42BE-93E7-D6A25A1B87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5042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/>
              <a:t>Change the style of the titl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"/>
              <a:t>TITLE OF THE PRESENTATION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6"/>
            <a:ext cx="591950" cy="369332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4" y="975123"/>
            <a:ext cx="7780543" cy="32682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"/>
              <a:t>Click to change the styles of the mask text</a:t>
            </a:r>
          </a:p>
          <a:p>
            <a:pPr lvl="1"/>
            <a:r>
              <a:rPr lang="en"/>
              <a:t>Second level</a:t>
            </a:r>
          </a:p>
          <a:p>
            <a:pPr lvl="2"/>
            <a:r>
              <a:rPr lang="en"/>
              <a:t>Third level</a:t>
            </a:r>
          </a:p>
          <a:p>
            <a:pPr lvl="3"/>
            <a:r>
              <a:rPr lang="en"/>
              <a:t>Fourth level</a:t>
            </a:r>
          </a:p>
          <a:p>
            <a:pPr lvl="4"/>
            <a:r>
              <a:rPr lang="en"/>
              <a:t>Fifth Level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"/>
              <a:t>JJ MMMM AAAA</a:t>
            </a:r>
          </a:p>
        </p:txBody>
      </p:sp>
    </p:spTree>
    <p:extLst>
      <p:ext uri="{BB962C8B-B14F-4D97-AF65-F5344CB8AC3E}">
        <p14:creationId xmlns:p14="http://schemas.microsoft.com/office/powerpoint/2010/main" val="191934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>
            <a:extLst>
              <a:ext uri="{FF2B5EF4-FFF2-40B4-BE49-F238E27FC236}">
                <a16:creationId xmlns:a16="http://schemas.microsoft.com/office/drawing/2014/main" id="{D3762044-994E-2F23-040E-505627FE5207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539553" y="3699385"/>
            <a:ext cx="8496944" cy="67256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3200" b="0" cap="none" baseline="0">
                <a:solidFill>
                  <a:schemeClr val="tx1"/>
                </a:solidFill>
                <a:effectLst/>
                <a:latin typeface="Montserrat ExtraBold" panose="00000900000000000000" pitchFamily="50" charset="0"/>
                <a:ea typeface="Montserrat ExtraBold" panose="00000900000000000000" pitchFamily="50" charset="0"/>
                <a:cs typeface="Montserrat ExtraBold" panose="00000900000000000000" pitchFamily="50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8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e la présentation</a:t>
            </a:r>
            <a:endParaRPr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EDFCE89-A6A7-E531-B5D4-6EE05B57B344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251520" y="217409"/>
            <a:ext cx="1526096" cy="291701"/>
          </a:xfrm>
          <a:prstGeom prst="rect">
            <a:avLst/>
          </a:prstGeom>
        </p:spPr>
      </p:pic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3335FC8-C814-3F4C-97D0-F808A6C2A0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553" y="4324410"/>
            <a:ext cx="7997952" cy="249299"/>
          </a:xfr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fr-FR"/>
              <a:t>Sous-titre de la présentation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A4A5D3C-061F-A9C5-D12A-E33BB46BE0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3251" y="322403"/>
            <a:ext cx="925253" cy="237757"/>
          </a:xfrm>
        </p:spPr>
        <p:txBody>
          <a:bodyPr wrap="none">
            <a:spAutoFit/>
          </a:bodyPr>
          <a:lstStyle>
            <a:lvl1pPr algn="r">
              <a:defRPr sz="1050" b="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IRECTION</a:t>
            </a:r>
          </a:p>
        </p:txBody>
      </p:sp>
      <p:sp>
        <p:nvSpPr>
          <p:cNvPr id="16" name="Espace réservé pour une image  18">
            <a:extLst>
              <a:ext uri="{FF2B5EF4-FFF2-40B4-BE49-F238E27FC236}">
                <a16:creationId xmlns:a16="http://schemas.microsoft.com/office/drawing/2014/main" id="{988C8E2D-F445-5459-5148-7F28ABDA8F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6" y="699542"/>
            <a:ext cx="9143504" cy="29440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2947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A9035E8C-935C-2A7A-9310-7A6DC5824D9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908672" cy="5164138"/>
          </a:xfrm>
          <a:custGeom>
            <a:avLst/>
            <a:gdLst>
              <a:gd name="connsiteX0" fmla="*/ 0 w 3908672"/>
              <a:gd name="connsiteY0" fmla="*/ 0 h 5164138"/>
              <a:gd name="connsiteX1" fmla="*/ 3898055 w 3908672"/>
              <a:gd name="connsiteY1" fmla="*/ 0 h 5164138"/>
              <a:gd name="connsiteX2" fmla="*/ 3891409 w 3908672"/>
              <a:gd name="connsiteY2" fmla="*/ 12919 h 5164138"/>
              <a:gd name="connsiteX3" fmla="*/ 3306801 w 3908672"/>
              <a:gd name="connsiteY3" fmla="*/ 2571750 h 5164138"/>
              <a:gd name="connsiteX4" fmla="*/ 3891409 w 3908672"/>
              <a:gd name="connsiteY4" fmla="*/ 5130581 h 5164138"/>
              <a:gd name="connsiteX5" fmla="*/ 3908672 w 3908672"/>
              <a:gd name="connsiteY5" fmla="*/ 5164138 h 5164138"/>
              <a:gd name="connsiteX6" fmla="*/ 0 w 3908672"/>
              <a:gd name="connsiteY6" fmla="*/ 5164138 h 5164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8672" h="5164138">
                <a:moveTo>
                  <a:pt x="0" y="0"/>
                </a:moveTo>
                <a:lnTo>
                  <a:pt x="3898055" y="0"/>
                </a:lnTo>
                <a:lnTo>
                  <a:pt x="3891409" y="12919"/>
                </a:lnTo>
                <a:cubicBezTo>
                  <a:pt x="3516757" y="787004"/>
                  <a:pt x="3306801" y="1654967"/>
                  <a:pt x="3306801" y="2571750"/>
                </a:cubicBezTo>
                <a:cubicBezTo>
                  <a:pt x="3306801" y="3488533"/>
                  <a:pt x="3516757" y="4356496"/>
                  <a:pt x="3891409" y="5130581"/>
                </a:cubicBezTo>
                <a:lnTo>
                  <a:pt x="3908672" y="5164138"/>
                </a:lnTo>
                <a:lnTo>
                  <a:pt x="0" y="5164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3908672" y="2436058"/>
            <a:ext cx="4536504" cy="11597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36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e partie</a:t>
            </a:r>
            <a:endParaRPr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87737E9-068F-A96B-3838-3F4586CA5C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8505" y="1203745"/>
            <a:ext cx="1296838" cy="1008062"/>
          </a:xfrm>
        </p:spPr>
        <p:txBody>
          <a:bodyPr lIns="0" rIns="0" anchor="b">
            <a:noAutofit/>
          </a:bodyPr>
          <a:lstStyle>
            <a:lvl1pPr marL="0" indent="0" algn="ctr">
              <a:buNone/>
              <a:defRPr sz="4000" b="1" i="0">
                <a:solidFill>
                  <a:srgbClr val="581D74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fr-FR"/>
              <a:t>XX</a:t>
            </a:r>
            <a:endParaRPr lang="en-US"/>
          </a:p>
        </p:txBody>
      </p:sp>
      <p:sp>
        <p:nvSpPr>
          <p:cNvPr id="2" name="Espace réservé du texte 52">
            <a:extLst>
              <a:ext uri="{FF2B5EF4-FFF2-40B4-BE49-F238E27FC236}">
                <a16:creationId xmlns:a16="http://schemas.microsoft.com/office/drawing/2014/main" id="{BE0EF120-9053-9994-061E-EFF7B4F38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4049" y="5033052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6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60423FA-EFEB-15EC-7F56-2DC3D8832C3B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5020022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36200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27">
            <a:extLst>
              <a:ext uri="{FF2B5EF4-FFF2-40B4-BE49-F238E27FC236}">
                <a16:creationId xmlns:a16="http://schemas.microsoft.com/office/drawing/2014/main" id="{3D8B7116-98FF-997E-EE50-1E00769D0B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2"/>
            <a:ext cx="5220072" cy="5143502"/>
          </a:xfrm>
          <a:custGeom>
            <a:avLst/>
            <a:gdLst>
              <a:gd name="connsiteX0" fmla="*/ 0 w 5652120"/>
              <a:gd name="connsiteY0" fmla="*/ 0 h 4574624"/>
              <a:gd name="connsiteX1" fmla="*/ 5652120 w 5652120"/>
              <a:gd name="connsiteY1" fmla="*/ 0 h 4574624"/>
              <a:gd name="connsiteX2" fmla="*/ 5652120 w 5652120"/>
              <a:gd name="connsiteY2" fmla="*/ 1131590 h 4574624"/>
              <a:gd name="connsiteX3" fmla="*/ 4380119 w 5652120"/>
              <a:gd name="connsiteY3" fmla="*/ 1131590 h 4574624"/>
              <a:gd name="connsiteX4" fmla="*/ 4380119 w 5652120"/>
              <a:gd name="connsiteY4" fmla="*/ 3795886 h 4574624"/>
              <a:gd name="connsiteX5" fmla="*/ 5652120 w 5652120"/>
              <a:gd name="connsiteY5" fmla="*/ 3795886 h 4574624"/>
              <a:gd name="connsiteX6" fmla="*/ 5652120 w 5652120"/>
              <a:gd name="connsiteY6" fmla="*/ 4574624 h 4574624"/>
              <a:gd name="connsiteX7" fmla="*/ 0 w 5652120"/>
              <a:gd name="connsiteY7" fmla="*/ 4574624 h 4574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2120" h="4574624">
                <a:moveTo>
                  <a:pt x="0" y="0"/>
                </a:moveTo>
                <a:lnTo>
                  <a:pt x="5652120" y="0"/>
                </a:lnTo>
                <a:lnTo>
                  <a:pt x="5652120" y="1131590"/>
                </a:lnTo>
                <a:lnTo>
                  <a:pt x="4380119" y="1131590"/>
                </a:lnTo>
                <a:lnTo>
                  <a:pt x="4380119" y="3795886"/>
                </a:lnTo>
                <a:lnTo>
                  <a:pt x="5652120" y="3795886"/>
                </a:lnTo>
                <a:lnTo>
                  <a:pt x="5652120" y="4574624"/>
                </a:lnTo>
                <a:lnTo>
                  <a:pt x="0" y="45746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6" name="Shape 10">
            <a:extLst>
              <a:ext uri="{FF2B5EF4-FFF2-40B4-BE49-F238E27FC236}">
                <a16:creationId xmlns:a16="http://schemas.microsoft.com/office/drawing/2014/main" id="{7E7F3E2A-76B5-C5D0-0794-8680768226A9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4427984" y="2139702"/>
            <a:ext cx="4536504" cy="11597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36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e partie</a:t>
            </a:r>
            <a:endParaRPr/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467EC189-F0F5-F465-2E62-4D4BEDB985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7984" y="1635759"/>
            <a:ext cx="1296838" cy="1007999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3600" b="1" i="0">
                <a:solidFill>
                  <a:srgbClr val="581D74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fr-FR"/>
              <a:t>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0015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AABD2F-CE12-6AFB-0B02-BBB9A1A2FE6F}"/>
              </a:ext>
            </a:extLst>
          </p:cNvPr>
          <p:cNvSpPr/>
          <p:nvPr userDrawn="1"/>
        </p:nvSpPr>
        <p:spPr>
          <a:xfrm>
            <a:off x="3054194" y="227538"/>
            <a:ext cx="5838285" cy="44627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60253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51470"/>
            <a:ext cx="1638861" cy="1275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995936" y="43737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995936" y="113788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3995936" y="183838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3995936" y="253889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995936" y="323939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3995936" y="3939902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52"/>
          <p:cNvSpPr>
            <a:spLocks noGrp="1"/>
          </p:cNvSpPr>
          <p:nvPr>
            <p:ph type="body" sz="quarter" idx="10" hasCustomPrompt="1"/>
          </p:nvPr>
        </p:nvSpPr>
        <p:spPr>
          <a:xfrm>
            <a:off x="3300736" y="45325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1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300736" y="115376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tx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2</a:t>
            </a:r>
            <a:endParaRPr lang="fr-FR"/>
          </a:p>
        </p:txBody>
      </p:sp>
      <p:sp>
        <p:nvSpPr>
          <p:cNvPr id="30" name="Espace réservé du texte 52"/>
          <p:cNvSpPr>
            <a:spLocks noGrp="1"/>
          </p:cNvSpPr>
          <p:nvPr>
            <p:ph type="body" sz="quarter" idx="14" hasCustomPrompt="1"/>
          </p:nvPr>
        </p:nvSpPr>
        <p:spPr>
          <a:xfrm>
            <a:off x="3300736" y="185426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3</a:t>
            </a:r>
            <a:endParaRPr lang="fr-FR"/>
          </a:p>
        </p:txBody>
      </p:sp>
      <p:sp>
        <p:nvSpPr>
          <p:cNvPr id="32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3300736" y="255477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3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4</a:t>
            </a:r>
            <a:endParaRPr lang="fr-FR"/>
          </a:p>
        </p:txBody>
      </p:sp>
      <p:sp>
        <p:nvSpPr>
          <p:cNvPr id="34" name="Espace réservé du texte 52"/>
          <p:cNvSpPr>
            <a:spLocks noGrp="1"/>
          </p:cNvSpPr>
          <p:nvPr>
            <p:ph type="body" sz="quarter" idx="18" hasCustomPrompt="1"/>
          </p:nvPr>
        </p:nvSpPr>
        <p:spPr>
          <a:xfrm>
            <a:off x="3300736" y="325527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4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5</a:t>
            </a:r>
            <a:endParaRPr lang="fr-FR"/>
          </a:p>
        </p:txBody>
      </p:sp>
      <p:sp>
        <p:nvSpPr>
          <p:cNvPr id="36" name="Espace réservé du texte 52"/>
          <p:cNvSpPr>
            <a:spLocks noGrp="1"/>
          </p:cNvSpPr>
          <p:nvPr>
            <p:ph type="body" sz="quarter" idx="20" hasCustomPrompt="1"/>
          </p:nvPr>
        </p:nvSpPr>
        <p:spPr>
          <a:xfrm>
            <a:off x="3300736" y="3955782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6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49BDC863-4516-8AC2-5699-E414819FB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169876"/>
            <a:ext cx="2308999" cy="4320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4CF1581-1F17-B986-7A78-6770EF8AD61C}"/>
              </a:ext>
            </a:extLst>
          </p:cNvPr>
          <p:cNvCxnSpPr>
            <a:cxnSpLocks/>
          </p:cNvCxnSpPr>
          <p:nvPr userDrawn="1"/>
        </p:nvCxnSpPr>
        <p:spPr>
          <a:xfrm>
            <a:off x="1365622" y="264375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8562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719572" y="1131589"/>
            <a:ext cx="7704856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202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k object 16"/>
          <p:cNvSpPr/>
          <p:nvPr userDrawn="1"/>
        </p:nvSpPr>
        <p:spPr>
          <a:xfrm>
            <a:off x="287338" y="329803"/>
            <a:ext cx="8578849" cy="4465391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970000" y="563880"/>
            <a:ext cx="5534025" cy="3947611"/>
          </a:xfrm>
        </p:spPr>
        <p:txBody>
          <a:bodyPr/>
          <a:lstStyle>
            <a:lvl1pPr>
              <a:defRPr sz="1700" b="1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20000"/>
              </a:lnSpc>
              <a:buNone/>
              <a:defRPr sz="13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object 13"/>
          <p:cNvSpPr/>
          <p:nvPr userDrawn="1"/>
        </p:nvSpPr>
        <p:spPr>
          <a:xfrm>
            <a:off x="1" y="329803"/>
            <a:ext cx="2962274" cy="1804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41648785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A442B2D3-6EE1-8002-2F92-147D848DB91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412207" y="1276350"/>
            <a:ext cx="4319587" cy="273843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7518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pour une image  28">
            <a:extLst>
              <a:ext uri="{FF2B5EF4-FFF2-40B4-BE49-F238E27FC236}">
                <a16:creationId xmlns:a16="http://schemas.microsoft.com/office/drawing/2014/main" id="{145E13DF-1E11-0ED9-04A7-D3D638965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"/>
            <a:ext cx="4870427" cy="4879569"/>
          </a:xfrm>
          <a:custGeom>
            <a:avLst/>
            <a:gdLst>
              <a:gd name="connsiteX0" fmla="*/ 3696012 w 4870427"/>
              <a:gd name="connsiteY0" fmla="*/ 3719852 h 4879569"/>
              <a:gd name="connsiteX1" fmla="*/ 4870427 w 4870427"/>
              <a:gd name="connsiteY1" fmla="*/ 3719852 h 4879569"/>
              <a:gd name="connsiteX2" fmla="*/ 4870427 w 4870427"/>
              <a:gd name="connsiteY2" fmla="*/ 4879569 h 4879569"/>
              <a:gd name="connsiteX3" fmla="*/ 3696012 w 4870427"/>
              <a:gd name="connsiteY3" fmla="*/ 4879569 h 4879569"/>
              <a:gd name="connsiteX4" fmla="*/ 1219347 w 4870427"/>
              <a:gd name="connsiteY4" fmla="*/ 3719852 h 4879569"/>
              <a:gd name="connsiteX5" fmla="*/ 2377747 w 4870427"/>
              <a:gd name="connsiteY5" fmla="*/ 3719852 h 4879569"/>
              <a:gd name="connsiteX6" fmla="*/ 2377747 w 4870427"/>
              <a:gd name="connsiteY6" fmla="*/ 4879569 h 4879569"/>
              <a:gd name="connsiteX7" fmla="*/ 1219347 w 4870427"/>
              <a:gd name="connsiteY7" fmla="*/ 4879569 h 4879569"/>
              <a:gd name="connsiteX8" fmla="*/ 0 w 4870427"/>
              <a:gd name="connsiteY8" fmla="*/ 3719852 h 4879569"/>
              <a:gd name="connsiteX9" fmla="*/ 1139415 w 4870427"/>
              <a:gd name="connsiteY9" fmla="*/ 3719852 h 4879569"/>
              <a:gd name="connsiteX10" fmla="*/ 1139415 w 4870427"/>
              <a:gd name="connsiteY10" fmla="*/ 4879569 h 4879569"/>
              <a:gd name="connsiteX11" fmla="*/ 0 w 4870427"/>
              <a:gd name="connsiteY11" fmla="*/ 4879569 h 4879569"/>
              <a:gd name="connsiteX12" fmla="*/ 2457679 w 4870427"/>
              <a:gd name="connsiteY12" fmla="*/ 2479315 h 4879569"/>
              <a:gd name="connsiteX13" fmla="*/ 3616080 w 4870427"/>
              <a:gd name="connsiteY13" fmla="*/ 2479315 h 4879569"/>
              <a:gd name="connsiteX14" fmla="*/ 3616080 w 4870427"/>
              <a:gd name="connsiteY14" fmla="*/ 3639920 h 4879569"/>
              <a:gd name="connsiteX15" fmla="*/ 2457679 w 4870427"/>
              <a:gd name="connsiteY15" fmla="*/ 3639920 h 4879569"/>
              <a:gd name="connsiteX16" fmla="*/ 0 w 4870427"/>
              <a:gd name="connsiteY16" fmla="*/ 2479315 h 4879569"/>
              <a:gd name="connsiteX17" fmla="*/ 1139415 w 4870427"/>
              <a:gd name="connsiteY17" fmla="*/ 2479315 h 4879569"/>
              <a:gd name="connsiteX18" fmla="*/ 1139415 w 4870427"/>
              <a:gd name="connsiteY18" fmla="*/ 3639920 h 4879569"/>
              <a:gd name="connsiteX19" fmla="*/ 0 w 4870427"/>
              <a:gd name="connsiteY19" fmla="*/ 3639920 h 4879569"/>
              <a:gd name="connsiteX20" fmla="*/ 3696012 w 4870427"/>
              <a:gd name="connsiteY20" fmla="*/ 1239657 h 4879569"/>
              <a:gd name="connsiteX21" fmla="*/ 4870427 w 4870427"/>
              <a:gd name="connsiteY21" fmla="*/ 1239657 h 4879569"/>
              <a:gd name="connsiteX22" fmla="*/ 4870427 w 4870427"/>
              <a:gd name="connsiteY22" fmla="*/ 2399383 h 4879569"/>
              <a:gd name="connsiteX23" fmla="*/ 3696012 w 4870427"/>
              <a:gd name="connsiteY23" fmla="*/ 2399383 h 4879569"/>
              <a:gd name="connsiteX24" fmla="*/ 2457679 w 4870427"/>
              <a:gd name="connsiteY24" fmla="*/ 1239657 h 4879569"/>
              <a:gd name="connsiteX25" fmla="*/ 3616080 w 4870427"/>
              <a:gd name="connsiteY25" fmla="*/ 1239657 h 4879569"/>
              <a:gd name="connsiteX26" fmla="*/ 3616080 w 4870427"/>
              <a:gd name="connsiteY26" fmla="*/ 2399383 h 4879569"/>
              <a:gd name="connsiteX27" fmla="*/ 2457679 w 4870427"/>
              <a:gd name="connsiteY27" fmla="*/ 2399383 h 4879569"/>
              <a:gd name="connsiteX28" fmla="*/ 1219347 w 4870427"/>
              <a:gd name="connsiteY28" fmla="*/ 1239657 h 4879569"/>
              <a:gd name="connsiteX29" fmla="*/ 2377747 w 4870427"/>
              <a:gd name="connsiteY29" fmla="*/ 1239657 h 4879569"/>
              <a:gd name="connsiteX30" fmla="*/ 2377747 w 4870427"/>
              <a:gd name="connsiteY30" fmla="*/ 2399383 h 4879569"/>
              <a:gd name="connsiteX31" fmla="*/ 1219347 w 4870427"/>
              <a:gd name="connsiteY31" fmla="*/ 2399383 h 4879569"/>
              <a:gd name="connsiteX32" fmla="*/ 0 w 4870427"/>
              <a:gd name="connsiteY32" fmla="*/ 1239657 h 4879569"/>
              <a:gd name="connsiteX33" fmla="*/ 1139415 w 4870427"/>
              <a:gd name="connsiteY33" fmla="*/ 1239657 h 4879569"/>
              <a:gd name="connsiteX34" fmla="*/ 1139415 w 4870427"/>
              <a:gd name="connsiteY34" fmla="*/ 2399383 h 4879569"/>
              <a:gd name="connsiteX35" fmla="*/ 0 w 4870427"/>
              <a:gd name="connsiteY35" fmla="*/ 2399383 h 4879569"/>
              <a:gd name="connsiteX36" fmla="*/ 1219347 w 4870427"/>
              <a:gd name="connsiteY36" fmla="*/ 0 h 4879569"/>
              <a:gd name="connsiteX37" fmla="*/ 2377747 w 4870427"/>
              <a:gd name="connsiteY37" fmla="*/ 0 h 4879569"/>
              <a:gd name="connsiteX38" fmla="*/ 2377747 w 4870427"/>
              <a:gd name="connsiteY38" fmla="*/ 1159725 h 4879569"/>
              <a:gd name="connsiteX39" fmla="*/ 1219347 w 4870427"/>
              <a:gd name="connsiteY39" fmla="*/ 1159725 h 4879569"/>
              <a:gd name="connsiteX40" fmla="*/ 0 w 4870427"/>
              <a:gd name="connsiteY40" fmla="*/ 0 h 4879569"/>
              <a:gd name="connsiteX41" fmla="*/ 1139415 w 4870427"/>
              <a:gd name="connsiteY41" fmla="*/ 0 h 4879569"/>
              <a:gd name="connsiteX42" fmla="*/ 1139415 w 4870427"/>
              <a:gd name="connsiteY42" fmla="*/ 1159725 h 4879569"/>
              <a:gd name="connsiteX43" fmla="*/ 0 w 4870427"/>
              <a:gd name="connsiteY43" fmla="*/ 1159725 h 487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870427" h="4879569">
                <a:moveTo>
                  <a:pt x="3696012" y="3719852"/>
                </a:moveTo>
                <a:lnTo>
                  <a:pt x="4870427" y="3719852"/>
                </a:lnTo>
                <a:lnTo>
                  <a:pt x="4870427" y="4879569"/>
                </a:lnTo>
                <a:lnTo>
                  <a:pt x="3696012" y="4879569"/>
                </a:lnTo>
                <a:close/>
                <a:moveTo>
                  <a:pt x="1219347" y="3719852"/>
                </a:moveTo>
                <a:lnTo>
                  <a:pt x="2377747" y="3719852"/>
                </a:lnTo>
                <a:lnTo>
                  <a:pt x="2377747" y="4879569"/>
                </a:lnTo>
                <a:lnTo>
                  <a:pt x="1219347" y="4879569"/>
                </a:lnTo>
                <a:close/>
                <a:moveTo>
                  <a:pt x="0" y="3719852"/>
                </a:moveTo>
                <a:lnTo>
                  <a:pt x="1139415" y="3719852"/>
                </a:lnTo>
                <a:lnTo>
                  <a:pt x="1139415" y="4879569"/>
                </a:lnTo>
                <a:lnTo>
                  <a:pt x="0" y="4879569"/>
                </a:lnTo>
                <a:close/>
                <a:moveTo>
                  <a:pt x="2457679" y="2479315"/>
                </a:moveTo>
                <a:lnTo>
                  <a:pt x="3616080" y="2479315"/>
                </a:lnTo>
                <a:lnTo>
                  <a:pt x="3616080" y="3639920"/>
                </a:lnTo>
                <a:lnTo>
                  <a:pt x="2457679" y="3639920"/>
                </a:lnTo>
                <a:close/>
                <a:moveTo>
                  <a:pt x="0" y="2479315"/>
                </a:moveTo>
                <a:lnTo>
                  <a:pt x="1139415" y="2479315"/>
                </a:lnTo>
                <a:lnTo>
                  <a:pt x="1139415" y="3639920"/>
                </a:lnTo>
                <a:lnTo>
                  <a:pt x="0" y="3639920"/>
                </a:lnTo>
                <a:close/>
                <a:moveTo>
                  <a:pt x="3696012" y="1239657"/>
                </a:moveTo>
                <a:lnTo>
                  <a:pt x="4870427" y="1239657"/>
                </a:lnTo>
                <a:lnTo>
                  <a:pt x="4870427" y="2399383"/>
                </a:lnTo>
                <a:lnTo>
                  <a:pt x="3696012" y="2399383"/>
                </a:lnTo>
                <a:close/>
                <a:moveTo>
                  <a:pt x="2457679" y="1239657"/>
                </a:moveTo>
                <a:lnTo>
                  <a:pt x="3616080" y="1239657"/>
                </a:lnTo>
                <a:lnTo>
                  <a:pt x="3616080" y="2399383"/>
                </a:lnTo>
                <a:lnTo>
                  <a:pt x="2457679" y="2399383"/>
                </a:lnTo>
                <a:close/>
                <a:moveTo>
                  <a:pt x="1219347" y="1239657"/>
                </a:moveTo>
                <a:lnTo>
                  <a:pt x="2377747" y="1239657"/>
                </a:lnTo>
                <a:lnTo>
                  <a:pt x="2377747" y="2399383"/>
                </a:lnTo>
                <a:lnTo>
                  <a:pt x="1219347" y="2399383"/>
                </a:lnTo>
                <a:close/>
                <a:moveTo>
                  <a:pt x="0" y="1239657"/>
                </a:moveTo>
                <a:lnTo>
                  <a:pt x="1139415" y="1239657"/>
                </a:lnTo>
                <a:lnTo>
                  <a:pt x="1139415" y="2399383"/>
                </a:lnTo>
                <a:lnTo>
                  <a:pt x="0" y="2399383"/>
                </a:lnTo>
                <a:close/>
                <a:moveTo>
                  <a:pt x="1219347" y="0"/>
                </a:moveTo>
                <a:lnTo>
                  <a:pt x="2377747" y="0"/>
                </a:lnTo>
                <a:lnTo>
                  <a:pt x="2377747" y="1159725"/>
                </a:lnTo>
                <a:lnTo>
                  <a:pt x="1219347" y="1159725"/>
                </a:lnTo>
                <a:close/>
                <a:moveTo>
                  <a:pt x="0" y="0"/>
                </a:moveTo>
                <a:lnTo>
                  <a:pt x="1139415" y="0"/>
                </a:lnTo>
                <a:lnTo>
                  <a:pt x="1139415" y="1159725"/>
                </a:lnTo>
                <a:lnTo>
                  <a:pt x="0" y="11597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contenu 5">
            <a:extLst>
              <a:ext uri="{FF2B5EF4-FFF2-40B4-BE49-F238E27FC236}">
                <a16:creationId xmlns:a16="http://schemas.microsoft.com/office/drawing/2014/main" id="{240D259F-584D-3F4B-B27E-FE69ED05692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36096" y="1131589"/>
            <a:ext cx="332102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0564316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89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21520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ECAC54-2696-3BD4-055D-E3F837A06F06}"/>
              </a:ext>
            </a:extLst>
          </p:cNvPr>
          <p:cNvSpPr/>
          <p:nvPr userDrawn="1"/>
        </p:nvSpPr>
        <p:spPr>
          <a:xfrm>
            <a:off x="6732240" y="0"/>
            <a:ext cx="2088232" cy="48833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90"/>
            <a:ext cx="4620366" cy="34696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5E946D88-4317-29A1-5908-290228FDD42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398274" y="1131888"/>
            <a:ext cx="3025775" cy="345598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909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33125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F25B1374-297B-A880-A342-C2A343E3B017}"/>
              </a:ext>
            </a:extLst>
          </p:cNvPr>
          <p:cNvGrpSpPr/>
          <p:nvPr userDrawn="1"/>
        </p:nvGrpSpPr>
        <p:grpSpPr>
          <a:xfrm>
            <a:off x="3519550" y="1119451"/>
            <a:ext cx="2112361" cy="2113676"/>
            <a:chOff x="899592" y="1275606"/>
            <a:chExt cx="2112361" cy="2113676"/>
          </a:xfrm>
        </p:grpSpPr>
        <p:sp>
          <p:nvSpPr>
            <p:cNvPr id="18" name="Oval 80">
              <a:extLst>
                <a:ext uri="{FF2B5EF4-FFF2-40B4-BE49-F238E27FC236}">
                  <a16:creationId xmlns:a16="http://schemas.microsoft.com/office/drawing/2014/main" id="{052C7121-FA0D-9E15-4FEE-E12A864A17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80">
              <a:extLst>
                <a:ext uri="{FF2B5EF4-FFF2-40B4-BE49-F238E27FC236}">
                  <a16:creationId xmlns:a16="http://schemas.microsoft.com/office/drawing/2014/main" id="{90AE0BD7-1139-959F-CFD3-8C05CE5839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82DC840-F245-5958-FAAA-9DE38BF0A967}"/>
              </a:ext>
            </a:extLst>
          </p:cNvPr>
          <p:cNvGrpSpPr/>
          <p:nvPr userDrawn="1"/>
        </p:nvGrpSpPr>
        <p:grpSpPr>
          <a:xfrm>
            <a:off x="6150990" y="1119451"/>
            <a:ext cx="2112361" cy="2113676"/>
            <a:chOff x="899592" y="1275606"/>
            <a:chExt cx="2112361" cy="2113676"/>
          </a:xfrm>
        </p:grpSpPr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D4792E51-7F56-2991-D477-B4E9EDBB6A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Oval 80">
              <a:extLst>
                <a:ext uri="{FF2B5EF4-FFF2-40B4-BE49-F238E27FC236}">
                  <a16:creationId xmlns:a16="http://schemas.microsoft.com/office/drawing/2014/main" id="{E1954412-39B1-A2EB-0D82-F77BD479B6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36242CA-B182-31FE-D64E-E63826BCB641}"/>
              </a:ext>
            </a:extLst>
          </p:cNvPr>
          <p:cNvGrpSpPr/>
          <p:nvPr userDrawn="1"/>
        </p:nvGrpSpPr>
        <p:grpSpPr>
          <a:xfrm>
            <a:off x="888110" y="1119451"/>
            <a:ext cx="2112361" cy="2113676"/>
            <a:chOff x="899592" y="1275606"/>
            <a:chExt cx="2112361" cy="2113676"/>
          </a:xfrm>
        </p:grpSpPr>
        <p:sp>
          <p:nvSpPr>
            <p:cNvPr id="14" name="Oval 80">
              <a:extLst>
                <a:ext uri="{FF2B5EF4-FFF2-40B4-BE49-F238E27FC236}">
                  <a16:creationId xmlns:a16="http://schemas.microsoft.com/office/drawing/2014/main" id="{D5DC9A69-64A1-2971-AFA2-6AF11E5EF4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80">
              <a:extLst>
                <a:ext uri="{FF2B5EF4-FFF2-40B4-BE49-F238E27FC236}">
                  <a16:creationId xmlns:a16="http://schemas.microsoft.com/office/drawing/2014/main" id="{0155C0A9-F48D-BF35-7351-1AE765B77F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1818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e 25">
            <a:extLst>
              <a:ext uri="{FF2B5EF4-FFF2-40B4-BE49-F238E27FC236}">
                <a16:creationId xmlns:a16="http://schemas.microsoft.com/office/drawing/2014/main" id="{0912761E-C27C-39CD-7C02-967A76F1D788}"/>
              </a:ext>
            </a:extLst>
          </p:cNvPr>
          <p:cNvGrpSpPr/>
          <p:nvPr userDrawn="1"/>
        </p:nvGrpSpPr>
        <p:grpSpPr>
          <a:xfrm>
            <a:off x="450080" y="1165823"/>
            <a:ext cx="8243842" cy="1722084"/>
            <a:chOff x="888110" y="1119451"/>
            <a:chExt cx="10118441" cy="2113676"/>
          </a:xfrm>
        </p:grpSpPr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F25B1374-297B-A880-A342-C2A343E3B017}"/>
                </a:ext>
              </a:extLst>
            </p:cNvPr>
            <p:cNvGrpSpPr/>
            <p:nvPr userDrawn="1"/>
          </p:nvGrpSpPr>
          <p:grpSpPr>
            <a:xfrm>
              <a:off x="3519550" y="1119451"/>
              <a:ext cx="2112361" cy="2113676"/>
              <a:chOff x="899592" y="1275606"/>
              <a:chExt cx="2112361" cy="2113676"/>
            </a:xfrm>
          </p:grpSpPr>
          <p:sp>
            <p:nvSpPr>
              <p:cNvPr id="18" name="Oval 80">
                <a:extLst>
                  <a:ext uri="{FF2B5EF4-FFF2-40B4-BE49-F238E27FC236}">
                    <a16:creationId xmlns:a16="http://schemas.microsoft.com/office/drawing/2014/main" id="{052C7121-FA0D-9E15-4FEE-E12A864A17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Oval 80">
                <a:extLst>
                  <a:ext uri="{FF2B5EF4-FFF2-40B4-BE49-F238E27FC236}">
                    <a16:creationId xmlns:a16="http://schemas.microsoft.com/office/drawing/2014/main" id="{90AE0BD7-1139-959F-CFD3-8C05CE5839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782DC840-F245-5958-FAAA-9DE38BF0A967}"/>
                </a:ext>
              </a:extLst>
            </p:cNvPr>
            <p:cNvGrpSpPr/>
            <p:nvPr userDrawn="1"/>
          </p:nvGrpSpPr>
          <p:grpSpPr>
            <a:xfrm>
              <a:off x="6150990" y="1119451"/>
              <a:ext cx="2112361" cy="2113676"/>
              <a:chOff x="899592" y="1275606"/>
              <a:chExt cx="2112361" cy="2113676"/>
            </a:xfrm>
          </p:grpSpPr>
          <p:sp>
            <p:nvSpPr>
              <p:cNvPr id="21" name="Oval 80">
                <a:extLst>
                  <a:ext uri="{FF2B5EF4-FFF2-40B4-BE49-F238E27FC236}">
                    <a16:creationId xmlns:a16="http://schemas.microsoft.com/office/drawing/2014/main" id="{D4792E51-7F56-2991-D477-B4E9EDBB6A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Oval 80">
                <a:extLst>
                  <a:ext uri="{FF2B5EF4-FFF2-40B4-BE49-F238E27FC236}">
                    <a16:creationId xmlns:a16="http://schemas.microsoft.com/office/drawing/2014/main" id="{E1954412-39B1-A2EB-0D82-F77BD479B6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B36242CA-B182-31FE-D64E-E63826BCB641}"/>
                </a:ext>
              </a:extLst>
            </p:cNvPr>
            <p:cNvGrpSpPr/>
            <p:nvPr userDrawn="1"/>
          </p:nvGrpSpPr>
          <p:grpSpPr>
            <a:xfrm>
              <a:off x="888110" y="1119451"/>
              <a:ext cx="2112361" cy="2113676"/>
              <a:chOff x="899592" y="1275606"/>
              <a:chExt cx="2112361" cy="2113676"/>
            </a:xfrm>
          </p:grpSpPr>
          <p:sp>
            <p:nvSpPr>
              <p:cNvPr id="14" name="Oval 80">
                <a:extLst>
                  <a:ext uri="{FF2B5EF4-FFF2-40B4-BE49-F238E27FC236}">
                    <a16:creationId xmlns:a16="http://schemas.microsoft.com/office/drawing/2014/main" id="{D5DC9A69-64A1-2971-AFA2-6AF11E5EF44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Oval 80">
                <a:extLst>
                  <a:ext uri="{FF2B5EF4-FFF2-40B4-BE49-F238E27FC236}">
                    <a16:creationId xmlns:a16="http://schemas.microsoft.com/office/drawing/2014/main" id="{0155C0A9-F48D-BF35-7351-1AE765B77FD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F5BB5A1B-BCBC-4401-6BAB-8FA2CAE0EA45}"/>
                </a:ext>
              </a:extLst>
            </p:cNvPr>
            <p:cNvGrpSpPr/>
            <p:nvPr userDrawn="1"/>
          </p:nvGrpSpPr>
          <p:grpSpPr>
            <a:xfrm>
              <a:off x="8894190" y="1119451"/>
              <a:ext cx="2112361" cy="2113676"/>
              <a:chOff x="899592" y="1275606"/>
              <a:chExt cx="2112361" cy="2113676"/>
            </a:xfrm>
          </p:grpSpPr>
          <p:sp>
            <p:nvSpPr>
              <p:cNvPr id="23" name="Oval 80">
                <a:extLst>
                  <a:ext uri="{FF2B5EF4-FFF2-40B4-BE49-F238E27FC236}">
                    <a16:creationId xmlns:a16="http://schemas.microsoft.com/office/drawing/2014/main" id="{94C64313-0AA1-A55F-936D-B1A17923A1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Oval 80">
                <a:extLst>
                  <a:ext uri="{FF2B5EF4-FFF2-40B4-BE49-F238E27FC236}">
                    <a16:creationId xmlns:a16="http://schemas.microsoft.com/office/drawing/2014/main" id="{2265996F-12C2-FCCF-CFFE-220B2AF714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A988ADC-A720-9051-504E-374153AA7DF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62514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7" name="Espace réservé pour une image  5">
            <a:extLst>
              <a:ext uri="{FF2B5EF4-FFF2-40B4-BE49-F238E27FC236}">
                <a16:creationId xmlns:a16="http://schemas.microsoft.com/office/drawing/2014/main" id="{3A17DACD-CB51-DA98-A21A-0FF6F876E5D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06439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C1CE4A70-1A67-2D66-28C7-D6F8B86416D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5036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AA229E14-D7D2-88ED-4B1D-D73798EDD9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18534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0597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rme libre 16">
            <a:extLst>
              <a:ext uri="{FF2B5EF4-FFF2-40B4-BE49-F238E27FC236}">
                <a16:creationId xmlns:a16="http://schemas.microsoft.com/office/drawing/2014/main" id="{90F6592E-3B0F-BAC2-25AF-55D9FC28179B}"/>
              </a:ext>
            </a:extLst>
          </p:cNvPr>
          <p:cNvSpPr/>
          <p:nvPr userDrawn="1"/>
        </p:nvSpPr>
        <p:spPr>
          <a:xfrm>
            <a:off x="0" y="2254086"/>
            <a:ext cx="9144000" cy="2405896"/>
          </a:xfrm>
          <a:custGeom>
            <a:avLst/>
            <a:gdLst>
              <a:gd name="connsiteX0" fmla="*/ 0 w 9144000"/>
              <a:gd name="connsiteY0" fmla="*/ 0 h 2405896"/>
              <a:gd name="connsiteX1" fmla="*/ 978148 w 9144000"/>
              <a:gd name="connsiteY1" fmla="*/ 0 h 2405896"/>
              <a:gd name="connsiteX2" fmla="*/ 1034029 w 9144000"/>
              <a:gd name="connsiteY2" fmla="*/ 180020 h 2405896"/>
              <a:gd name="connsiteX3" fmla="*/ 1944291 w 9144000"/>
              <a:gd name="connsiteY3" fmla="*/ 783382 h 2405896"/>
              <a:gd name="connsiteX4" fmla="*/ 2854553 w 9144000"/>
              <a:gd name="connsiteY4" fmla="*/ 180020 h 2405896"/>
              <a:gd name="connsiteX5" fmla="*/ 2910435 w 9144000"/>
              <a:gd name="connsiteY5" fmla="*/ 0 h 2405896"/>
              <a:gd name="connsiteX6" fmla="*/ 3609588 w 9144000"/>
              <a:gd name="connsiteY6" fmla="*/ 0 h 2405896"/>
              <a:gd name="connsiteX7" fmla="*/ 3665469 w 9144000"/>
              <a:gd name="connsiteY7" fmla="*/ 180020 h 2405896"/>
              <a:gd name="connsiteX8" fmla="*/ 4575731 w 9144000"/>
              <a:gd name="connsiteY8" fmla="*/ 783382 h 2405896"/>
              <a:gd name="connsiteX9" fmla="*/ 5485994 w 9144000"/>
              <a:gd name="connsiteY9" fmla="*/ 180020 h 2405896"/>
              <a:gd name="connsiteX10" fmla="*/ 5541875 w 9144000"/>
              <a:gd name="connsiteY10" fmla="*/ 0 h 2405896"/>
              <a:gd name="connsiteX11" fmla="*/ 6241028 w 9144000"/>
              <a:gd name="connsiteY11" fmla="*/ 0 h 2405896"/>
              <a:gd name="connsiteX12" fmla="*/ 6296909 w 9144000"/>
              <a:gd name="connsiteY12" fmla="*/ 180020 h 2405896"/>
              <a:gd name="connsiteX13" fmla="*/ 7207171 w 9144000"/>
              <a:gd name="connsiteY13" fmla="*/ 783382 h 2405896"/>
              <a:gd name="connsiteX14" fmla="*/ 8117434 w 9144000"/>
              <a:gd name="connsiteY14" fmla="*/ 180020 h 2405896"/>
              <a:gd name="connsiteX15" fmla="*/ 8173315 w 9144000"/>
              <a:gd name="connsiteY15" fmla="*/ 0 h 2405896"/>
              <a:gd name="connsiteX16" fmla="*/ 9144000 w 9144000"/>
              <a:gd name="connsiteY16" fmla="*/ 0 h 2405896"/>
              <a:gd name="connsiteX17" fmla="*/ 9144000 w 9144000"/>
              <a:gd name="connsiteY17" fmla="*/ 2405896 h 2405896"/>
              <a:gd name="connsiteX18" fmla="*/ 0 w 9144000"/>
              <a:gd name="connsiteY18" fmla="*/ 2405896 h 2405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4000" h="2405896">
                <a:moveTo>
                  <a:pt x="0" y="0"/>
                </a:moveTo>
                <a:lnTo>
                  <a:pt x="978148" y="0"/>
                </a:lnTo>
                <a:lnTo>
                  <a:pt x="1034029" y="180020"/>
                </a:lnTo>
                <a:cubicBezTo>
                  <a:pt x="1184000" y="534591"/>
                  <a:pt x="1535091" y="783382"/>
                  <a:pt x="1944291" y="783382"/>
                </a:cubicBezTo>
                <a:cubicBezTo>
                  <a:pt x="2353491" y="783382"/>
                  <a:pt x="2704583" y="534591"/>
                  <a:pt x="2854553" y="180020"/>
                </a:cubicBezTo>
                <a:lnTo>
                  <a:pt x="2910435" y="0"/>
                </a:lnTo>
                <a:lnTo>
                  <a:pt x="3609588" y="0"/>
                </a:lnTo>
                <a:lnTo>
                  <a:pt x="3665469" y="180020"/>
                </a:lnTo>
                <a:cubicBezTo>
                  <a:pt x="3815440" y="534591"/>
                  <a:pt x="4166531" y="783382"/>
                  <a:pt x="4575731" y="783382"/>
                </a:cubicBezTo>
                <a:cubicBezTo>
                  <a:pt x="4984931" y="783382"/>
                  <a:pt x="5336023" y="534591"/>
                  <a:pt x="5485994" y="180020"/>
                </a:cubicBezTo>
                <a:lnTo>
                  <a:pt x="5541875" y="0"/>
                </a:lnTo>
                <a:lnTo>
                  <a:pt x="6241028" y="0"/>
                </a:lnTo>
                <a:lnTo>
                  <a:pt x="6296909" y="180020"/>
                </a:lnTo>
                <a:cubicBezTo>
                  <a:pt x="6446880" y="534591"/>
                  <a:pt x="6797971" y="783382"/>
                  <a:pt x="7207171" y="783382"/>
                </a:cubicBezTo>
                <a:cubicBezTo>
                  <a:pt x="7616371" y="783382"/>
                  <a:pt x="7967463" y="534591"/>
                  <a:pt x="8117434" y="180020"/>
                </a:cubicBezTo>
                <a:lnTo>
                  <a:pt x="8173315" y="0"/>
                </a:lnTo>
                <a:lnTo>
                  <a:pt x="9144000" y="0"/>
                </a:lnTo>
                <a:lnTo>
                  <a:pt x="9144000" y="2405896"/>
                </a:lnTo>
                <a:lnTo>
                  <a:pt x="0" y="24058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284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20282" y="1131589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0854252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796136" y="1131589"/>
            <a:ext cx="296098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4390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51647" y="221878"/>
            <a:ext cx="152400" cy="6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object 13"/>
          <p:cNvSpPr/>
          <p:nvPr userDrawn="1"/>
        </p:nvSpPr>
        <p:spPr>
          <a:xfrm>
            <a:off x="1" y="329803"/>
            <a:ext cx="2962274" cy="1804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bk object 16"/>
          <p:cNvSpPr/>
          <p:nvPr userDrawn="1"/>
        </p:nvSpPr>
        <p:spPr>
          <a:xfrm>
            <a:off x="2970000" y="329803"/>
            <a:ext cx="5896187" cy="4465391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3240000" y="585203"/>
            <a:ext cx="4986000" cy="3571889"/>
          </a:xfrm>
        </p:spPr>
        <p:txBody>
          <a:bodyPr>
            <a:noAutofit/>
          </a:bodyPr>
          <a:lstStyle>
            <a:lvl1pPr marL="342900" indent="-342900">
              <a:lnSpc>
                <a:spcPct val="95000"/>
              </a:lnSpc>
              <a:spcBef>
                <a:spcPts val="1800"/>
              </a:spcBef>
              <a:buClr>
                <a:schemeClr val="tx1"/>
              </a:buClr>
              <a:buFont typeface="+mj-lt"/>
              <a:buAutoNum type="arabicPeriod"/>
              <a:defRPr sz="1500" b="1" cap="all" baseline="0">
                <a:solidFill>
                  <a:schemeClr val="tx2"/>
                </a:solidFill>
              </a:defRPr>
            </a:lvl1pPr>
            <a:lvl2pPr>
              <a:lnSpc>
                <a:spcPct val="120000"/>
              </a:lnSpc>
              <a:defRPr sz="1400" b="0"/>
            </a:lvl2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457098" y="979472"/>
            <a:ext cx="2052000" cy="369332"/>
          </a:xfrm>
        </p:spPr>
        <p:txBody>
          <a:bodyPr wrap="square">
            <a:spAutoFit/>
          </a:bodyPr>
          <a:lstStyle>
            <a:lvl1pPr>
              <a:defRPr sz="2400" b="1" cap="all" baseline="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959930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0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19" y="612000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0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286D89A0-F3CE-7828-B34B-8C462E27A2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87900" y="193675"/>
            <a:ext cx="4105275" cy="446563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52647D7-5C0D-E87D-2DA8-D38CA3210BAA}"/>
              </a:ext>
            </a:extLst>
          </p:cNvPr>
          <p:cNvCxnSpPr>
            <a:cxnSpLocks/>
          </p:cNvCxnSpPr>
          <p:nvPr userDrawn="1"/>
        </p:nvCxnSpPr>
        <p:spPr>
          <a:xfrm>
            <a:off x="231735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8355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0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19" y="612000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0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231735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18246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63" y="194400"/>
            <a:ext cx="3421868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23906" y="612000"/>
            <a:ext cx="3421532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323528" y="1131590"/>
            <a:ext cx="3421531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1882090" y="555526"/>
            <a:ext cx="3048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83369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6034" y="194400"/>
            <a:ext cx="5009957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646280" y="612000"/>
            <a:ext cx="5009464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2983364" y="555526"/>
            <a:ext cx="3352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0D88D6E-B44C-19F0-91AC-56BAA849AB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99259" y="530050"/>
            <a:ext cx="1816041" cy="3926632"/>
          </a:xfrm>
          <a:custGeom>
            <a:avLst/>
            <a:gdLst>
              <a:gd name="connsiteX0" fmla="*/ 1997791 w 2516552"/>
              <a:gd name="connsiteY0" fmla="*/ 12 h 5441271"/>
              <a:gd name="connsiteX1" fmla="*/ 2004211 w 2516552"/>
              <a:gd name="connsiteY1" fmla="*/ 566 h 5441271"/>
              <a:gd name="connsiteX2" fmla="*/ 2267990 w 2516552"/>
              <a:gd name="connsiteY2" fmla="*/ 566 h 5441271"/>
              <a:gd name="connsiteX3" fmla="*/ 2516552 w 2516552"/>
              <a:gd name="connsiteY3" fmla="*/ 261335 h 5441271"/>
              <a:gd name="connsiteX4" fmla="*/ 2516552 w 2516552"/>
              <a:gd name="connsiteY4" fmla="*/ 5170375 h 5441271"/>
              <a:gd name="connsiteX5" fmla="*/ 2255309 w 2516552"/>
              <a:gd name="connsiteY5" fmla="*/ 5441271 h 5441271"/>
              <a:gd name="connsiteX6" fmla="*/ 269354 w 2516552"/>
              <a:gd name="connsiteY6" fmla="*/ 5441271 h 5441271"/>
              <a:gd name="connsiteX7" fmla="*/ 501 w 2516552"/>
              <a:gd name="connsiteY7" fmla="*/ 5157717 h 5441271"/>
              <a:gd name="connsiteX8" fmla="*/ 501 w 2516552"/>
              <a:gd name="connsiteY8" fmla="*/ 317034 h 5441271"/>
              <a:gd name="connsiteX9" fmla="*/ 61373 w 2516552"/>
              <a:gd name="connsiteY9" fmla="*/ 101836 h 5441271"/>
              <a:gd name="connsiteX10" fmla="*/ 269354 w 2516552"/>
              <a:gd name="connsiteY10" fmla="*/ 566 h 5441271"/>
              <a:gd name="connsiteX11" fmla="*/ 512842 w 2516552"/>
              <a:gd name="connsiteY11" fmla="*/ 566 h 5441271"/>
              <a:gd name="connsiteX12" fmla="*/ 566105 w 2516552"/>
              <a:gd name="connsiteY12" fmla="*/ 41074 h 5441271"/>
              <a:gd name="connsiteX13" fmla="*/ 566105 w 2516552"/>
              <a:gd name="connsiteY13" fmla="*/ 81582 h 5441271"/>
              <a:gd name="connsiteX14" fmla="*/ 713213 w 2516552"/>
              <a:gd name="connsiteY14" fmla="*/ 200574 h 5441271"/>
              <a:gd name="connsiteX15" fmla="*/ 1824131 w 2516552"/>
              <a:gd name="connsiteY15" fmla="*/ 200574 h 5441271"/>
              <a:gd name="connsiteX16" fmla="*/ 1958557 w 2516552"/>
              <a:gd name="connsiteY16" fmla="*/ 73987 h 5441271"/>
              <a:gd name="connsiteX17" fmla="*/ 1958557 w 2516552"/>
              <a:gd name="connsiteY17" fmla="*/ 33479 h 5441271"/>
              <a:gd name="connsiteX18" fmla="*/ 1997791 w 2516552"/>
              <a:gd name="connsiteY18" fmla="*/ 12 h 5441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6552" h="5441271">
                <a:moveTo>
                  <a:pt x="1997791" y="12"/>
                </a:moveTo>
                <a:cubicBezTo>
                  <a:pt x="2001675" y="92"/>
                  <a:pt x="2004211" y="566"/>
                  <a:pt x="2004211" y="566"/>
                </a:cubicBezTo>
                <a:cubicBezTo>
                  <a:pt x="2004211" y="566"/>
                  <a:pt x="2006747" y="566"/>
                  <a:pt x="2267990" y="566"/>
                </a:cubicBezTo>
                <a:cubicBezTo>
                  <a:pt x="2511479" y="23352"/>
                  <a:pt x="2516552" y="261335"/>
                  <a:pt x="2516552" y="261335"/>
                </a:cubicBezTo>
                <a:cubicBezTo>
                  <a:pt x="2516552" y="261335"/>
                  <a:pt x="2516552" y="4904543"/>
                  <a:pt x="2516552" y="5170375"/>
                </a:cubicBezTo>
                <a:cubicBezTo>
                  <a:pt x="2501334" y="5438740"/>
                  <a:pt x="2255309" y="5441271"/>
                  <a:pt x="2255309" y="5441271"/>
                </a:cubicBezTo>
                <a:cubicBezTo>
                  <a:pt x="2255309" y="5441271"/>
                  <a:pt x="558496" y="5441271"/>
                  <a:pt x="269354" y="5441271"/>
                </a:cubicBezTo>
                <a:cubicBezTo>
                  <a:pt x="-14717" y="5410890"/>
                  <a:pt x="501" y="5157717"/>
                  <a:pt x="501" y="5157717"/>
                </a:cubicBezTo>
                <a:cubicBezTo>
                  <a:pt x="501" y="5157717"/>
                  <a:pt x="501" y="372732"/>
                  <a:pt x="501" y="317034"/>
                </a:cubicBezTo>
                <a:cubicBezTo>
                  <a:pt x="501" y="258804"/>
                  <a:pt x="-9644" y="195510"/>
                  <a:pt x="61373" y="101836"/>
                </a:cubicBezTo>
                <a:cubicBezTo>
                  <a:pt x="134927" y="-1965"/>
                  <a:pt x="269354" y="566"/>
                  <a:pt x="269354" y="566"/>
                </a:cubicBezTo>
                <a:cubicBezTo>
                  <a:pt x="269354" y="566"/>
                  <a:pt x="457043" y="566"/>
                  <a:pt x="512842" y="566"/>
                </a:cubicBezTo>
                <a:cubicBezTo>
                  <a:pt x="566105" y="566"/>
                  <a:pt x="566105" y="41074"/>
                  <a:pt x="566105" y="41074"/>
                </a:cubicBezTo>
                <a:cubicBezTo>
                  <a:pt x="566105" y="41074"/>
                  <a:pt x="566105" y="38542"/>
                  <a:pt x="566105" y="81582"/>
                </a:cubicBezTo>
                <a:cubicBezTo>
                  <a:pt x="583860" y="205637"/>
                  <a:pt x="713213" y="200574"/>
                  <a:pt x="713213" y="200574"/>
                </a:cubicBezTo>
                <a:cubicBezTo>
                  <a:pt x="713213" y="200574"/>
                  <a:pt x="1702386" y="200574"/>
                  <a:pt x="1824131" y="200574"/>
                </a:cubicBezTo>
                <a:cubicBezTo>
                  <a:pt x="1943339" y="192978"/>
                  <a:pt x="1958557" y="73987"/>
                  <a:pt x="1958557" y="73987"/>
                </a:cubicBezTo>
                <a:cubicBezTo>
                  <a:pt x="1958557" y="73987"/>
                  <a:pt x="1958557" y="73987"/>
                  <a:pt x="1958557" y="33479"/>
                </a:cubicBezTo>
                <a:cubicBezTo>
                  <a:pt x="1962362" y="3098"/>
                  <a:pt x="1986140" y="-225"/>
                  <a:pt x="1997791" y="1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F8EEA7D8-F067-CAB5-3125-4A2F2C4E1E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540" y="1130245"/>
            <a:ext cx="5436604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2551684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4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90">
            <a:hlinkClick r:id="rId2"/>
            <a:extLst>
              <a:ext uri="{FF2B5EF4-FFF2-40B4-BE49-F238E27FC236}">
                <a16:creationId xmlns:a16="http://schemas.microsoft.com/office/drawing/2014/main" id="{428DC39B-0F74-561F-5D22-1B32DAE46079}"/>
              </a:ext>
            </a:extLst>
          </p:cNvPr>
          <p:cNvSpPr txBox="1">
            <a:spLocks/>
          </p:cNvSpPr>
          <p:nvPr userDrawn="1"/>
        </p:nvSpPr>
        <p:spPr>
          <a:xfrm>
            <a:off x="3861869" y="3516214"/>
            <a:ext cx="1420261" cy="14882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 i="0" u="none" strike="noStrike" cap="all" baseline="0">
                <a:solidFill>
                  <a:schemeClr val="accent1"/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Arial"/>
                <a:sym typeface="Arial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fr-FR" sz="1200" b="1" i="0" cap="none" err="1">
                <a:solidFill>
                  <a:schemeClr val="accent1"/>
                </a:solidFill>
                <a:latin typeface="Montserrat SemiBold" pitchFamily="2" charset="77"/>
                <a:ea typeface="Cabin"/>
                <a:cs typeface="Cabin"/>
                <a:sym typeface="Cabin"/>
              </a:rPr>
              <a:t>groupeBPCE.com</a:t>
            </a:r>
            <a:endParaRPr lang="fr-FR" sz="1200" b="1" i="0" cap="none">
              <a:solidFill>
                <a:schemeClr val="accent1"/>
              </a:solidFill>
              <a:latin typeface="Montserrat SemiBold" pitchFamily="2" charset="77"/>
              <a:ea typeface="Cabin"/>
              <a:cs typeface="Cabin"/>
              <a:sym typeface="Cabin"/>
            </a:endParaRPr>
          </a:p>
        </p:txBody>
      </p:sp>
      <p:pic>
        <p:nvPicPr>
          <p:cNvPr id="4" name="Image 3" descr="Une image contenant Police, logo, Graphique, conception&#10;&#10;Description générée automatiquement">
            <a:extLst>
              <a:ext uri="{FF2B5EF4-FFF2-40B4-BE49-F238E27FC236}">
                <a16:creationId xmlns:a16="http://schemas.microsoft.com/office/drawing/2014/main" id="{A5BD55FE-4643-4BF7-D20D-5FA0FEFD1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3350" y="2260600"/>
            <a:ext cx="3797300" cy="6223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662582B-C860-0F3C-6558-E2F1B8B9C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496" y="4123635"/>
            <a:ext cx="9073008" cy="89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075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85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DCEB38BE-58B5-B8EF-160B-03556F2E1F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35896" y="0"/>
            <a:ext cx="5508104" cy="51641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864000" y="1851670"/>
            <a:ext cx="4896544" cy="11597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u document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64000" y="3031409"/>
            <a:ext cx="4896544" cy="249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 i="0" cap="none" baseline="0">
                <a:solidFill>
                  <a:schemeClr val="tx1"/>
                </a:solidFill>
                <a:effectLst/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 du document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 rot="16200000">
            <a:off x="-966508" y="2510250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7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FCDE6B0-CC9E-FE87-0877-5474C2D00B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4" y="4566152"/>
            <a:ext cx="1901692" cy="31720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782E745-995F-64B8-6568-5FFF74FCE7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08750" y="328986"/>
            <a:ext cx="3005966" cy="818751"/>
          </a:xfrm>
          <a:prstGeom prst="rect">
            <a:avLst/>
          </a:prstGeom>
        </p:spPr>
      </p:pic>
      <p:sp>
        <p:nvSpPr>
          <p:cNvPr id="7" name="Espace réservé du texte 52">
            <a:extLst>
              <a:ext uri="{FF2B5EF4-FFF2-40B4-BE49-F238E27FC236}">
                <a16:creationId xmlns:a16="http://schemas.microsoft.com/office/drawing/2014/main" id="{0C6B377B-8CED-3CD5-B13A-6FFEC5DE01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-2375938" y="2512789"/>
            <a:ext cx="5163673" cy="138096"/>
          </a:xfrm>
          <a:prstGeom prst="rect">
            <a:avLst/>
          </a:prstGeom>
          <a:solidFill>
            <a:srgbClr val="00A193"/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800" b="0" i="0" cap="all" spc="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0168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DCEB38BE-58B5-B8EF-160B-03556F2E1F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44" y="0"/>
            <a:ext cx="3276929" cy="51641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4067944" y="1991851"/>
            <a:ext cx="4536504" cy="11597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36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e partie</a:t>
            </a:r>
            <a:endParaRPr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87737E9-068F-A96B-3838-3F4586CA5C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83075" y="2067719"/>
            <a:ext cx="1296838" cy="1008062"/>
          </a:xfrm>
        </p:spPr>
        <p:txBody>
          <a:bodyPr anchor="ctr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fr-FR"/>
              <a:t>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19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r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 userDrawn="1">
            <p:ph type="ctrTitle" hasCustomPrompt="1"/>
          </p:nvPr>
        </p:nvSpPr>
        <p:spPr>
          <a:xfrm>
            <a:off x="864000" y="1525673"/>
            <a:ext cx="7523602" cy="11597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4400" b="1" i="0" cap="all" baseline="0">
                <a:solidFill>
                  <a:schemeClr val="tx1"/>
                </a:solidFill>
                <a:effectLst/>
                <a:latin typeface="Montserrat ExtraBold" pitchFamily="2" charset="77"/>
                <a:ea typeface="Montserrat ExtraBold" pitchFamily="2" charset="77"/>
                <a:cs typeface="Arial Black" panose="020B0A04020102020204" pitchFamily="34" charset="0"/>
                <a:sym typeface="Cabin Condensed"/>
              </a:defRPr>
            </a:lvl1pPr>
            <a:lvl2pPr lvl="1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2pPr>
            <a:lvl3pPr lvl="2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3pPr>
            <a:lvl4pPr lvl="3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4pPr>
            <a:lvl5pPr lvl="4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5pPr>
            <a:lvl6pPr lvl="5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6pPr>
            <a:lvl7pPr lvl="6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7pPr>
            <a:lvl8pPr lvl="7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8pPr>
            <a:lvl9pPr lvl="8" algn="l">
              <a:spcBef>
                <a:spcPts val="0"/>
              </a:spcBef>
              <a:buClr>
                <a:srgbClr val="FFFFFF"/>
              </a:buClr>
              <a:buSzPct val="100000"/>
              <a:buFont typeface="Cabin Condensed"/>
              <a:defRPr sz="6000">
                <a:solidFill>
                  <a:srgbClr val="FFFFFF"/>
                </a:solidFill>
                <a:latin typeface="Cabin Condensed"/>
                <a:ea typeface="Cabin Condensed"/>
                <a:cs typeface="Cabin Condensed"/>
                <a:sym typeface="Cabin Condensed"/>
              </a:defRPr>
            </a:lvl9pPr>
          </a:lstStyle>
          <a:p>
            <a:r>
              <a:rPr lang="fr-FR"/>
              <a:t>Titre du document</a:t>
            </a:r>
            <a:endParaRPr/>
          </a:p>
        </p:txBody>
      </p:sp>
      <p:sp>
        <p:nvSpPr>
          <p:cNvPr id="6" name="Espace réservé du texte 5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64000" y="2705412"/>
            <a:ext cx="7523602" cy="249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 i="0" cap="none" baseline="0">
                <a:solidFill>
                  <a:schemeClr val="tx1"/>
                </a:solidFill>
                <a:effectLst/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Sous-titre du document</a:t>
            </a:r>
            <a:endParaRPr lang="fr-FR"/>
          </a:p>
        </p:txBody>
      </p:sp>
      <p:sp>
        <p:nvSpPr>
          <p:cNvPr id="17" name="Espace réservé du texte 52"/>
          <p:cNvSpPr>
            <a:spLocks noGrp="1"/>
          </p:cNvSpPr>
          <p:nvPr userDrawn="1">
            <p:ph type="body" sz="quarter" idx="13" hasCustomPrompt="1"/>
          </p:nvPr>
        </p:nvSpPr>
        <p:spPr>
          <a:xfrm rot="16200000">
            <a:off x="-966508" y="2510250"/>
            <a:ext cx="2095903" cy="123000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700" b="0" i="0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Date de la public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4EC3BCD-B506-5838-901A-792CCB6F81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4" y="4566152"/>
            <a:ext cx="1901692" cy="31720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F404962-C481-4E2C-266E-882F35B539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08750" y="328986"/>
            <a:ext cx="3005966" cy="818751"/>
          </a:xfrm>
          <a:prstGeom prst="rect">
            <a:avLst/>
          </a:prstGeom>
        </p:spPr>
      </p:pic>
      <p:sp>
        <p:nvSpPr>
          <p:cNvPr id="4" name="Espace réservé du texte 52">
            <a:extLst>
              <a:ext uri="{FF2B5EF4-FFF2-40B4-BE49-F238E27FC236}">
                <a16:creationId xmlns:a16="http://schemas.microsoft.com/office/drawing/2014/main" id="{AB61CD7B-0309-F3D6-4FFC-831C7127C4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-2375938" y="2512789"/>
            <a:ext cx="5163673" cy="138096"/>
          </a:xfrm>
          <a:prstGeom prst="rect">
            <a:avLst/>
          </a:prstGeom>
          <a:solidFill>
            <a:srgbClr val="00A193"/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800" b="0" i="0" cap="all" spc="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834771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AABD2F-CE12-6AFB-0B02-BBB9A1A2FE6F}"/>
              </a:ext>
            </a:extLst>
          </p:cNvPr>
          <p:cNvSpPr/>
          <p:nvPr userDrawn="1"/>
        </p:nvSpPr>
        <p:spPr>
          <a:xfrm>
            <a:off x="2914650" y="227538"/>
            <a:ext cx="5977829" cy="44627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60253" sx="102000" sy="102000" algn="ctr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51470"/>
            <a:ext cx="1638861" cy="1275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818136" y="43737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818136" y="113788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3818136" y="183838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3818136" y="2538893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818136" y="3239398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21"/>
          </p:nvPr>
        </p:nvSpPr>
        <p:spPr>
          <a:xfrm>
            <a:off x="3818136" y="3939902"/>
            <a:ext cx="4608512" cy="54088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lang="fr-FR" sz="1400" b="0" i="0" u="none" strike="noStrike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52"/>
          <p:cNvSpPr>
            <a:spLocks noGrp="1"/>
          </p:cNvSpPr>
          <p:nvPr>
            <p:ph type="body" sz="quarter" idx="10" hasCustomPrompt="1"/>
          </p:nvPr>
        </p:nvSpPr>
        <p:spPr>
          <a:xfrm>
            <a:off x="3122936" y="45325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1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8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122936" y="115376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tx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2</a:t>
            </a:r>
            <a:endParaRPr lang="fr-FR"/>
          </a:p>
        </p:txBody>
      </p:sp>
      <p:sp>
        <p:nvSpPr>
          <p:cNvPr id="30" name="Espace réservé du texte 52"/>
          <p:cNvSpPr>
            <a:spLocks noGrp="1"/>
          </p:cNvSpPr>
          <p:nvPr>
            <p:ph type="body" sz="quarter" idx="14" hasCustomPrompt="1"/>
          </p:nvPr>
        </p:nvSpPr>
        <p:spPr>
          <a:xfrm>
            <a:off x="3122936" y="185426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2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3</a:t>
            </a:r>
            <a:endParaRPr lang="fr-FR"/>
          </a:p>
        </p:txBody>
      </p:sp>
      <p:sp>
        <p:nvSpPr>
          <p:cNvPr id="32" name="Espace réservé du texte 52"/>
          <p:cNvSpPr>
            <a:spLocks noGrp="1"/>
          </p:cNvSpPr>
          <p:nvPr>
            <p:ph type="body" sz="quarter" idx="16" hasCustomPrompt="1"/>
          </p:nvPr>
        </p:nvSpPr>
        <p:spPr>
          <a:xfrm>
            <a:off x="3122936" y="255477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3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4</a:t>
            </a:r>
            <a:endParaRPr lang="fr-FR"/>
          </a:p>
        </p:txBody>
      </p:sp>
      <p:sp>
        <p:nvSpPr>
          <p:cNvPr id="34" name="Espace réservé du texte 52"/>
          <p:cNvSpPr>
            <a:spLocks noGrp="1"/>
          </p:cNvSpPr>
          <p:nvPr>
            <p:ph type="body" sz="quarter" idx="18" hasCustomPrompt="1"/>
          </p:nvPr>
        </p:nvSpPr>
        <p:spPr>
          <a:xfrm>
            <a:off x="3122936" y="3255278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4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5</a:t>
            </a:r>
            <a:endParaRPr lang="fr-FR"/>
          </a:p>
        </p:txBody>
      </p:sp>
      <p:sp>
        <p:nvSpPr>
          <p:cNvPr id="36" name="Espace réservé du texte 52"/>
          <p:cNvSpPr>
            <a:spLocks noGrp="1"/>
          </p:cNvSpPr>
          <p:nvPr>
            <p:ph type="body" sz="quarter" idx="20" hasCustomPrompt="1"/>
          </p:nvPr>
        </p:nvSpPr>
        <p:spPr>
          <a:xfrm>
            <a:off x="3122936" y="3955782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wrap="none" lIns="72000" tIns="0" rIns="72000" bIns="0" anchor="ctr" anchorCtr="0">
            <a:noAutofit/>
          </a:bodyPr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cap="all" baseline="0"/>
              <a:t>06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49BDC863-4516-8AC2-5699-E414819FB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169876"/>
            <a:ext cx="2308999" cy="4320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4CF1581-1F17-B986-7A78-6770EF8AD61C}"/>
              </a:ext>
            </a:extLst>
          </p:cNvPr>
          <p:cNvCxnSpPr>
            <a:cxnSpLocks/>
          </p:cNvCxnSpPr>
          <p:nvPr userDrawn="1"/>
        </p:nvCxnSpPr>
        <p:spPr>
          <a:xfrm>
            <a:off x="1365622" y="264375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700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51647" y="221878"/>
            <a:ext cx="152400" cy="6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4" name="object 14"/>
          <p:cNvSpPr/>
          <p:nvPr userDrawn="1"/>
        </p:nvSpPr>
        <p:spPr>
          <a:xfrm>
            <a:off x="324005" y="456508"/>
            <a:ext cx="2588129" cy="212636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970000" y="3204903"/>
            <a:ext cx="4841262" cy="30469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800" b="0" cap="none" baseline="0">
                <a:solidFill>
                  <a:schemeClr val="accent1"/>
                </a:solidFill>
              </a:defRPr>
            </a:lvl1pPr>
            <a:lvl2pPr>
              <a:lnSpc>
                <a:spcPct val="120000"/>
              </a:lnSpc>
              <a:defRPr sz="1400" b="0"/>
            </a:lvl2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1657277" y="760907"/>
            <a:ext cx="855114" cy="1415772"/>
          </a:xfrm>
        </p:spPr>
        <p:txBody>
          <a:bodyPr wrap="square">
            <a:spAutoFit/>
          </a:bodyPr>
          <a:lstStyle>
            <a:lvl1pPr algn="r">
              <a:defRPr sz="9200" b="1" cap="all" baseline="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3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970000" y="953791"/>
            <a:ext cx="4212443" cy="877163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3000" b="0" cap="all" baseline="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7503215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719572" y="1131589"/>
            <a:ext cx="7704856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70756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A442B2D3-6EE1-8002-2F92-147D848DB91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412207" y="1276350"/>
            <a:ext cx="4319587" cy="273843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796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pour une image  28">
            <a:extLst>
              <a:ext uri="{FF2B5EF4-FFF2-40B4-BE49-F238E27FC236}">
                <a16:creationId xmlns:a16="http://schemas.microsoft.com/office/drawing/2014/main" id="{145E13DF-1E11-0ED9-04A7-D3D638965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"/>
            <a:ext cx="4870427" cy="4879569"/>
          </a:xfrm>
          <a:custGeom>
            <a:avLst/>
            <a:gdLst>
              <a:gd name="connsiteX0" fmla="*/ 3696012 w 4870427"/>
              <a:gd name="connsiteY0" fmla="*/ 3719852 h 4879569"/>
              <a:gd name="connsiteX1" fmla="*/ 4870427 w 4870427"/>
              <a:gd name="connsiteY1" fmla="*/ 3719852 h 4879569"/>
              <a:gd name="connsiteX2" fmla="*/ 4870427 w 4870427"/>
              <a:gd name="connsiteY2" fmla="*/ 4879569 h 4879569"/>
              <a:gd name="connsiteX3" fmla="*/ 3696012 w 4870427"/>
              <a:gd name="connsiteY3" fmla="*/ 4879569 h 4879569"/>
              <a:gd name="connsiteX4" fmla="*/ 1219347 w 4870427"/>
              <a:gd name="connsiteY4" fmla="*/ 3719852 h 4879569"/>
              <a:gd name="connsiteX5" fmla="*/ 2377747 w 4870427"/>
              <a:gd name="connsiteY5" fmla="*/ 3719852 h 4879569"/>
              <a:gd name="connsiteX6" fmla="*/ 2377747 w 4870427"/>
              <a:gd name="connsiteY6" fmla="*/ 4879569 h 4879569"/>
              <a:gd name="connsiteX7" fmla="*/ 1219347 w 4870427"/>
              <a:gd name="connsiteY7" fmla="*/ 4879569 h 4879569"/>
              <a:gd name="connsiteX8" fmla="*/ 0 w 4870427"/>
              <a:gd name="connsiteY8" fmla="*/ 3719852 h 4879569"/>
              <a:gd name="connsiteX9" fmla="*/ 1139415 w 4870427"/>
              <a:gd name="connsiteY9" fmla="*/ 3719852 h 4879569"/>
              <a:gd name="connsiteX10" fmla="*/ 1139415 w 4870427"/>
              <a:gd name="connsiteY10" fmla="*/ 4879569 h 4879569"/>
              <a:gd name="connsiteX11" fmla="*/ 0 w 4870427"/>
              <a:gd name="connsiteY11" fmla="*/ 4879569 h 4879569"/>
              <a:gd name="connsiteX12" fmla="*/ 2457679 w 4870427"/>
              <a:gd name="connsiteY12" fmla="*/ 2479315 h 4879569"/>
              <a:gd name="connsiteX13" fmla="*/ 3616080 w 4870427"/>
              <a:gd name="connsiteY13" fmla="*/ 2479315 h 4879569"/>
              <a:gd name="connsiteX14" fmla="*/ 3616080 w 4870427"/>
              <a:gd name="connsiteY14" fmla="*/ 3639920 h 4879569"/>
              <a:gd name="connsiteX15" fmla="*/ 2457679 w 4870427"/>
              <a:gd name="connsiteY15" fmla="*/ 3639920 h 4879569"/>
              <a:gd name="connsiteX16" fmla="*/ 0 w 4870427"/>
              <a:gd name="connsiteY16" fmla="*/ 2479315 h 4879569"/>
              <a:gd name="connsiteX17" fmla="*/ 1139415 w 4870427"/>
              <a:gd name="connsiteY17" fmla="*/ 2479315 h 4879569"/>
              <a:gd name="connsiteX18" fmla="*/ 1139415 w 4870427"/>
              <a:gd name="connsiteY18" fmla="*/ 3639920 h 4879569"/>
              <a:gd name="connsiteX19" fmla="*/ 0 w 4870427"/>
              <a:gd name="connsiteY19" fmla="*/ 3639920 h 4879569"/>
              <a:gd name="connsiteX20" fmla="*/ 3696012 w 4870427"/>
              <a:gd name="connsiteY20" fmla="*/ 1239657 h 4879569"/>
              <a:gd name="connsiteX21" fmla="*/ 4870427 w 4870427"/>
              <a:gd name="connsiteY21" fmla="*/ 1239657 h 4879569"/>
              <a:gd name="connsiteX22" fmla="*/ 4870427 w 4870427"/>
              <a:gd name="connsiteY22" fmla="*/ 2399383 h 4879569"/>
              <a:gd name="connsiteX23" fmla="*/ 3696012 w 4870427"/>
              <a:gd name="connsiteY23" fmla="*/ 2399383 h 4879569"/>
              <a:gd name="connsiteX24" fmla="*/ 2457679 w 4870427"/>
              <a:gd name="connsiteY24" fmla="*/ 1239657 h 4879569"/>
              <a:gd name="connsiteX25" fmla="*/ 3616080 w 4870427"/>
              <a:gd name="connsiteY25" fmla="*/ 1239657 h 4879569"/>
              <a:gd name="connsiteX26" fmla="*/ 3616080 w 4870427"/>
              <a:gd name="connsiteY26" fmla="*/ 2399383 h 4879569"/>
              <a:gd name="connsiteX27" fmla="*/ 2457679 w 4870427"/>
              <a:gd name="connsiteY27" fmla="*/ 2399383 h 4879569"/>
              <a:gd name="connsiteX28" fmla="*/ 1219347 w 4870427"/>
              <a:gd name="connsiteY28" fmla="*/ 1239657 h 4879569"/>
              <a:gd name="connsiteX29" fmla="*/ 2377747 w 4870427"/>
              <a:gd name="connsiteY29" fmla="*/ 1239657 h 4879569"/>
              <a:gd name="connsiteX30" fmla="*/ 2377747 w 4870427"/>
              <a:gd name="connsiteY30" fmla="*/ 2399383 h 4879569"/>
              <a:gd name="connsiteX31" fmla="*/ 1219347 w 4870427"/>
              <a:gd name="connsiteY31" fmla="*/ 2399383 h 4879569"/>
              <a:gd name="connsiteX32" fmla="*/ 0 w 4870427"/>
              <a:gd name="connsiteY32" fmla="*/ 1239657 h 4879569"/>
              <a:gd name="connsiteX33" fmla="*/ 1139415 w 4870427"/>
              <a:gd name="connsiteY33" fmla="*/ 1239657 h 4879569"/>
              <a:gd name="connsiteX34" fmla="*/ 1139415 w 4870427"/>
              <a:gd name="connsiteY34" fmla="*/ 2399383 h 4879569"/>
              <a:gd name="connsiteX35" fmla="*/ 0 w 4870427"/>
              <a:gd name="connsiteY35" fmla="*/ 2399383 h 4879569"/>
              <a:gd name="connsiteX36" fmla="*/ 1219347 w 4870427"/>
              <a:gd name="connsiteY36" fmla="*/ 0 h 4879569"/>
              <a:gd name="connsiteX37" fmla="*/ 2377747 w 4870427"/>
              <a:gd name="connsiteY37" fmla="*/ 0 h 4879569"/>
              <a:gd name="connsiteX38" fmla="*/ 2377747 w 4870427"/>
              <a:gd name="connsiteY38" fmla="*/ 1159725 h 4879569"/>
              <a:gd name="connsiteX39" fmla="*/ 1219347 w 4870427"/>
              <a:gd name="connsiteY39" fmla="*/ 1159725 h 4879569"/>
              <a:gd name="connsiteX40" fmla="*/ 0 w 4870427"/>
              <a:gd name="connsiteY40" fmla="*/ 0 h 4879569"/>
              <a:gd name="connsiteX41" fmla="*/ 1139415 w 4870427"/>
              <a:gd name="connsiteY41" fmla="*/ 0 h 4879569"/>
              <a:gd name="connsiteX42" fmla="*/ 1139415 w 4870427"/>
              <a:gd name="connsiteY42" fmla="*/ 1159725 h 4879569"/>
              <a:gd name="connsiteX43" fmla="*/ 0 w 4870427"/>
              <a:gd name="connsiteY43" fmla="*/ 1159725 h 487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870427" h="4879569">
                <a:moveTo>
                  <a:pt x="3696012" y="3719852"/>
                </a:moveTo>
                <a:lnTo>
                  <a:pt x="4870427" y="3719852"/>
                </a:lnTo>
                <a:lnTo>
                  <a:pt x="4870427" y="4879569"/>
                </a:lnTo>
                <a:lnTo>
                  <a:pt x="3696012" y="4879569"/>
                </a:lnTo>
                <a:close/>
                <a:moveTo>
                  <a:pt x="1219347" y="3719852"/>
                </a:moveTo>
                <a:lnTo>
                  <a:pt x="2377747" y="3719852"/>
                </a:lnTo>
                <a:lnTo>
                  <a:pt x="2377747" y="4879569"/>
                </a:lnTo>
                <a:lnTo>
                  <a:pt x="1219347" y="4879569"/>
                </a:lnTo>
                <a:close/>
                <a:moveTo>
                  <a:pt x="0" y="3719852"/>
                </a:moveTo>
                <a:lnTo>
                  <a:pt x="1139415" y="3719852"/>
                </a:lnTo>
                <a:lnTo>
                  <a:pt x="1139415" y="4879569"/>
                </a:lnTo>
                <a:lnTo>
                  <a:pt x="0" y="4879569"/>
                </a:lnTo>
                <a:close/>
                <a:moveTo>
                  <a:pt x="2457679" y="2479315"/>
                </a:moveTo>
                <a:lnTo>
                  <a:pt x="3616080" y="2479315"/>
                </a:lnTo>
                <a:lnTo>
                  <a:pt x="3616080" y="3639920"/>
                </a:lnTo>
                <a:lnTo>
                  <a:pt x="2457679" y="3639920"/>
                </a:lnTo>
                <a:close/>
                <a:moveTo>
                  <a:pt x="0" y="2479315"/>
                </a:moveTo>
                <a:lnTo>
                  <a:pt x="1139415" y="2479315"/>
                </a:lnTo>
                <a:lnTo>
                  <a:pt x="1139415" y="3639920"/>
                </a:lnTo>
                <a:lnTo>
                  <a:pt x="0" y="3639920"/>
                </a:lnTo>
                <a:close/>
                <a:moveTo>
                  <a:pt x="3696012" y="1239657"/>
                </a:moveTo>
                <a:lnTo>
                  <a:pt x="4870427" y="1239657"/>
                </a:lnTo>
                <a:lnTo>
                  <a:pt x="4870427" y="2399383"/>
                </a:lnTo>
                <a:lnTo>
                  <a:pt x="3696012" y="2399383"/>
                </a:lnTo>
                <a:close/>
                <a:moveTo>
                  <a:pt x="2457679" y="1239657"/>
                </a:moveTo>
                <a:lnTo>
                  <a:pt x="3616080" y="1239657"/>
                </a:lnTo>
                <a:lnTo>
                  <a:pt x="3616080" y="2399383"/>
                </a:lnTo>
                <a:lnTo>
                  <a:pt x="2457679" y="2399383"/>
                </a:lnTo>
                <a:close/>
                <a:moveTo>
                  <a:pt x="1219347" y="1239657"/>
                </a:moveTo>
                <a:lnTo>
                  <a:pt x="2377747" y="1239657"/>
                </a:lnTo>
                <a:lnTo>
                  <a:pt x="2377747" y="2399383"/>
                </a:lnTo>
                <a:lnTo>
                  <a:pt x="1219347" y="2399383"/>
                </a:lnTo>
                <a:close/>
                <a:moveTo>
                  <a:pt x="0" y="1239657"/>
                </a:moveTo>
                <a:lnTo>
                  <a:pt x="1139415" y="1239657"/>
                </a:lnTo>
                <a:lnTo>
                  <a:pt x="1139415" y="2399383"/>
                </a:lnTo>
                <a:lnTo>
                  <a:pt x="0" y="2399383"/>
                </a:lnTo>
                <a:close/>
                <a:moveTo>
                  <a:pt x="1219347" y="0"/>
                </a:moveTo>
                <a:lnTo>
                  <a:pt x="2377747" y="0"/>
                </a:lnTo>
                <a:lnTo>
                  <a:pt x="2377747" y="1159725"/>
                </a:lnTo>
                <a:lnTo>
                  <a:pt x="1219347" y="1159725"/>
                </a:lnTo>
                <a:close/>
                <a:moveTo>
                  <a:pt x="0" y="0"/>
                </a:moveTo>
                <a:lnTo>
                  <a:pt x="1139415" y="0"/>
                </a:lnTo>
                <a:lnTo>
                  <a:pt x="1139415" y="1159725"/>
                </a:lnTo>
                <a:lnTo>
                  <a:pt x="0" y="11597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58EADCC-5693-6288-8205-81E367AE0C7B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contenu 5">
            <a:extLst>
              <a:ext uri="{FF2B5EF4-FFF2-40B4-BE49-F238E27FC236}">
                <a16:creationId xmlns:a16="http://schemas.microsoft.com/office/drawing/2014/main" id="{240D259F-584D-3F4B-B27E-FE69ED05692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36096" y="1131589"/>
            <a:ext cx="332102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6101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89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4131014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ECAC54-2696-3BD4-055D-E3F837A06F06}"/>
              </a:ext>
            </a:extLst>
          </p:cNvPr>
          <p:cNvSpPr/>
          <p:nvPr userDrawn="1"/>
        </p:nvSpPr>
        <p:spPr>
          <a:xfrm>
            <a:off x="6732240" y="0"/>
            <a:ext cx="2088232" cy="50059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id="{89C4FAE2-8B2F-DFB1-421A-F126A90E5E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485" y="1131590"/>
            <a:ext cx="4620366" cy="34696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5E946D88-4317-29A1-5908-290228FDD42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398274" y="1131888"/>
            <a:ext cx="3025775" cy="345598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7504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76AA7776-5180-4EEC-98DD-F7AAF4A63DB3}"/>
              </a:ext>
            </a:extLst>
          </p:cNvPr>
          <p:cNvCxnSpPr>
            <a:cxnSpLocks/>
          </p:cNvCxnSpPr>
          <p:nvPr userDrawn="1"/>
        </p:nvCxnSpPr>
        <p:spPr>
          <a:xfrm>
            <a:off x="4368538" y="57293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839229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76AA7776-5180-4EEC-98DD-F7AAF4A63DB3}"/>
              </a:ext>
            </a:extLst>
          </p:cNvPr>
          <p:cNvCxnSpPr>
            <a:cxnSpLocks/>
          </p:cNvCxnSpPr>
          <p:nvPr userDrawn="1"/>
        </p:nvCxnSpPr>
        <p:spPr>
          <a:xfrm>
            <a:off x="4368538" y="852338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96919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F25B1374-297B-A880-A342-C2A343E3B017}"/>
              </a:ext>
            </a:extLst>
          </p:cNvPr>
          <p:cNvGrpSpPr/>
          <p:nvPr userDrawn="1"/>
        </p:nvGrpSpPr>
        <p:grpSpPr>
          <a:xfrm>
            <a:off x="3519550" y="1119451"/>
            <a:ext cx="2112361" cy="2113676"/>
            <a:chOff x="899592" y="1275606"/>
            <a:chExt cx="2112361" cy="2113676"/>
          </a:xfrm>
        </p:grpSpPr>
        <p:sp>
          <p:nvSpPr>
            <p:cNvPr id="18" name="Oval 80">
              <a:extLst>
                <a:ext uri="{FF2B5EF4-FFF2-40B4-BE49-F238E27FC236}">
                  <a16:creationId xmlns:a16="http://schemas.microsoft.com/office/drawing/2014/main" id="{052C7121-FA0D-9E15-4FEE-E12A864A17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80">
              <a:extLst>
                <a:ext uri="{FF2B5EF4-FFF2-40B4-BE49-F238E27FC236}">
                  <a16:creationId xmlns:a16="http://schemas.microsoft.com/office/drawing/2014/main" id="{90AE0BD7-1139-959F-CFD3-8C05CE5839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82DC840-F245-5958-FAAA-9DE38BF0A967}"/>
              </a:ext>
            </a:extLst>
          </p:cNvPr>
          <p:cNvGrpSpPr/>
          <p:nvPr userDrawn="1"/>
        </p:nvGrpSpPr>
        <p:grpSpPr>
          <a:xfrm>
            <a:off x="6150990" y="1119451"/>
            <a:ext cx="2112361" cy="2113676"/>
            <a:chOff x="899592" y="1275606"/>
            <a:chExt cx="2112361" cy="2113676"/>
          </a:xfrm>
        </p:grpSpPr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D4792E51-7F56-2991-D477-B4E9EDBB6A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Oval 80">
              <a:extLst>
                <a:ext uri="{FF2B5EF4-FFF2-40B4-BE49-F238E27FC236}">
                  <a16:creationId xmlns:a16="http://schemas.microsoft.com/office/drawing/2014/main" id="{E1954412-39B1-A2EB-0D82-F77BD479B6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36242CA-B182-31FE-D64E-E63826BCB641}"/>
              </a:ext>
            </a:extLst>
          </p:cNvPr>
          <p:cNvGrpSpPr/>
          <p:nvPr userDrawn="1"/>
        </p:nvGrpSpPr>
        <p:grpSpPr>
          <a:xfrm>
            <a:off x="888110" y="1119451"/>
            <a:ext cx="2112361" cy="2113676"/>
            <a:chOff x="899592" y="1275606"/>
            <a:chExt cx="2112361" cy="2113676"/>
          </a:xfrm>
        </p:grpSpPr>
        <p:sp>
          <p:nvSpPr>
            <p:cNvPr id="14" name="Oval 80">
              <a:extLst>
                <a:ext uri="{FF2B5EF4-FFF2-40B4-BE49-F238E27FC236}">
                  <a16:creationId xmlns:a16="http://schemas.microsoft.com/office/drawing/2014/main" id="{D5DC9A69-64A1-2971-AFA2-6AF11E5EF4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9592" y="1275606"/>
              <a:ext cx="2112361" cy="211367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80">
              <a:extLst>
                <a:ext uri="{FF2B5EF4-FFF2-40B4-BE49-F238E27FC236}">
                  <a16:creationId xmlns:a16="http://schemas.microsoft.com/office/drawing/2014/main" id="{0155C0A9-F48D-BF35-7351-1AE765B77F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34943" y="1411042"/>
              <a:ext cx="1841658" cy="1842804"/>
            </a:xfrm>
            <a:prstGeom prst="ellipse">
              <a:avLst/>
            </a:prstGeom>
            <a:gradFill>
              <a:gsLst>
                <a:gs pos="66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35593" sx="102000" sy="102000" algn="ctr" rotWithShape="0">
                <a:prstClr val="black">
                  <a:alpha val="15912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347614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4495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e 25">
            <a:extLst>
              <a:ext uri="{FF2B5EF4-FFF2-40B4-BE49-F238E27FC236}">
                <a16:creationId xmlns:a16="http://schemas.microsoft.com/office/drawing/2014/main" id="{0912761E-C27C-39CD-7C02-967A76F1D788}"/>
              </a:ext>
            </a:extLst>
          </p:cNvPr>
          <p:cNvGrpSpPr/>
          <p:nvPr userDrawn="1"/>
        </p:nvGrpSpPr>
        <p:grpSpPr>
          <a:xfrm>
            <a:off x="450080" y="1165823"/>
            <a:ext cx="8243842" cy="1722084"/>
            <a:chOff x="888110" y="1119451"/>
            <a:chExt cx="10118441" cy="2113676"/>
          </a:xfrm>
        </p:grpSpPr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F25B1374-297B-A880-A342-C2A343E3B017}"/>
                </a:ext>
              </a:extLst>
            </p:cNvPr>
            <p:cNvGrpSpPr/>
            <p:nvPr userDrawn="1"/>
          </p:nvGrpSpPr>
          <p:grpSpPr>
            <a:xfrm>
              <a:off x="3519550" y="1119451"/>
              <a:ext cx="2112361" cy="2113676"/>
              <a:chOff x="899592" y="1275606"/>
              <a:chExt cx="2112361" cy="2113676"/>
            </a:xfrm>
          </p:grpSpPr>
          <p:sp>
            <p:nvSpPr>
              <p:cNvPr id="18" name="Oval 80">
                <a:extLst>
                  <a:ext uri="{FF2B5EF4-FFF2-40B4-BE49-F238E27FC236}">
                    <a16:creationId xmlns:a16="http://schemas.microsoft.com/office/drawing/2014/main" id="{052C7121-FA0D-9E15-4FEE-E12A864A17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Oval 80">
                <a:extLst>
                  <a:ext uri="{FF2B5EF4-FFF2-40B4-BE49-F238E27FC236}">
                    <a16:creationId xmlns:a16="http://schemas.microsoft.com/office/drawing/2014/main" id="{90AE0BD7-1139-959F-CFD3-8C05CE5839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782DC840-F245-5958-FAAA-9DE38BF0A967}"/>
                </a:ext>
              </a:extLst>
            </p:cNvPr>
            <p:cNvGrpSpPr/>
            <p:nvPr userDrawn="1"/>
          </p:nvGrpSpPr>
          <p:grpSpPr>
            <a:xfrm>
              <a:off x="6150990" y="1119451"/>
              <a:ext cx="2112361" cy="2113676"/>
              <a:chOff x="899592" y="1275606"/>
              <a:chExt cx="2112361" cy="2113676"/>
            </a:xfrm>
          </p:grpSpPr>
          <p:sp>
            <p:nvSpPr>
              <p:cNvPr id="21" name="Oval 80">
                <a:extLst>
                  <a:ext uri="{FF2B5EF4-FFF2-40B4-BE49-F238E27FC236}">
                    <a16:creationId xmlns:a16="http://schemas.microsoft.com/office/drawing/2014/main" id="{D4792E51-7F56-2991-D477-B4E9EDBB6A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Oval 80">
                <a:extLst>
                  <a:ext uri="{FF2B5EF4-FFF2-40B4-BE49-F238E27FC236}">
                    <a16:creationId xmlns:a16="http://schemas.microsoft.com/office/drawing/2014/main" id="{E1954412-39B1-A2EB-0D82-F77BD479B6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B36242CA-B182-31FE-D64E-E63826BCB641}"/>
                </a:ext>
              </a:extLst>
            </p:cNvPr>
            <p:cNvGrpSpPr/>
            <p:nvPr userDrawn="1"/>
          </p:nvGrpSpPr>
          <p:grpSpPr>
            <a:xfrm>
              <a:off x="888110" y="1119451"/>
              <a:ext cx="2112361" cy="2113676"/>
              <a:chOff x="899592" y="1275606"/>
              <a:chExt cx="2112361" cy="2113676"/>
            </a:xfrm>
          </p:grpSpPr>
          <p:sp>
            <p:nvSpPr>
              <p:cNvPr id="14" name="Oval 80">
                <a:extLst>
                  <a:ext uri="{FF2B5EF4-FFF2-40B4-BE49-F238E27FC236}">
                    <a16:creationId xmlns:a16="http://schemas.microsoft.com/office/drawing/2014/main" id="{D5DC9A69-64A1-2971-AFA2-6AF11E5EF44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Oval 80">
                <a:extLst>
                  <a:ext uri="{FF2B5EF4-FFF2-40B4-BE49-F238E27FC236}">
                    <a16:creationId xmlns:a16="http://schemas.microsoft.com/office/drawing/2014/main" id="{0155C0A9-F48D-BF35-7351-1AE765B77FD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F5BB5A1B-BCBC-4401-6BAB-8FA2CAE0EA45}"/>
                </a:ext>
              </a:extLst>
            </p:cNvPr>
            <p:cNvGrpSpPr/>
            <p:nvPr userDrawn="1"/>
          </p:nvGrpSpPr>
          <p:grpSpPr>
            <a:xfrm>
              <a:off x="8894190" y="1119451"/>
              <a:ext cx="2112361" cy="2113676"/>
              <a:chOff x="899592" y="1275606"/>
              <a:chExt cx="2112361" cy="2113676"/>
            </a:xfrm>
          </p:grpSpPr>
          <p:sp>
            <p:nvSpPr>
              <p:cNvPr id="23" name="Oval 80">
                <a:extLst>
                  <a:ext uri="{FF2B5EF4-FFF2-40B4-BE49-F238E27FC236}">
                    <a16:creationId xmlns:a16="http://schemas.microsoft.com/office/drawing/2014/main" id="{94C64313-0AA1-A55F-936D-B1A17923A1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9592" y="1275606"/>
                <a:ext cx="2112361" cy="211367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Oval 80">
                <a:extLst>
                  <a:ext uri="{FF2B5EF4-FFF2-40B4-BE49-F238E27FC236}">
                    <a16:creationId xmlns:a16="http://schemas.microsoft.com/office/drawing/2014/main" id="{2265996F-12C2-FCCF-CFFE-220B2AF714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34943" y="1411042"/>
                <a:ext cx="1841658" cy="1842804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62514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7" name="Espace réservé pour une image  5">
            <a:extLst>
              <a:ext uri="{FF2B5EF4-FFF2-40B4-BE49-F238E27FC236}">
                <a16:creationId xmlns:a16="http://schemas.microsoft.com/office/drawing/2014/main" id="{3A17DACD-CB51-DA98-A21A-0FF6F876E5D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06439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C1CE4A70-1A67-2D66-28C7-D6F8B86416D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5036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AA229E14-D7D2-88ED-4B1D-D73798EDD9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185343" y="1378792"/>
            <a:ext cx="1296144" cy="129614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7086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rme libre 16">
            <a:extLst>
              <a:ext uri="{FF2B5EF4-FFF2-40B4-BE49-F238E27FC236}">
                <a16:creationId xmlns:a16="http://schemas.microsoft.com/office/drawing/2014/main" id="{90F6592E-3B0F-BAC2-25AF-55D9FC28179B}"/>
              </a:ext>
            </a:extLst>
          </p:cNvPr>
          <p:cNvSpPr/>
          <p:nvPr userDrawn="1"/>
        </p:nvSpPr>
        <p:spPr>
          <a:xfrm>
            <a:off x="0" y="2254086"/>
            <a:ext cx="9144000" cy="2405896"/>
          </a:xfrm>
          <a:custGeom>
            <a:avLst/>
            <a:gdLst>
              <a:gd name="connsiteX0" fmla="*/ 0 w 9144000"/>
              <a:gd name="connsiteY0" fmla="*/ 0 h 2405896"/>
              <a:gd name="connsiteX1" fmla="*/ 978148 w 9144000"/>
              <a:gd name="connsiteY1" fmla="*/ 0 h 2405896"/>
              <a:gd name="connsiteX2" fmla="*/ 1034029 w 9144000"/>
              <a:gd name="connsiteY2" fmla="*/ 180020 h 2405896"/>
              <a:gd name="connsiteX3" fmla="*/ 1944291 w 9144000"/>
              <a:gd name="connsiteY3" fmla="*/ 783382 h 2405896"/>
              <a:gd name="connsiteX4" fmla="*/ 2854553 w 9144000"/>
              <a:gd name="connsiteY4" fmla="*/ 180020 h 2405896"/>
              <a:gd name="connsiteX5" fmla="*/ 2910435 w 9144000"/>
              <a:gd name="connsiteY5" fmla="*/ 0 h 2405896"/>
              <a:gd name="connsiteX6" fmla="*/ 3609588 w 9144000"/>
              <a:gd name="connsiteY6" fmla="*/ 0 h 2405896"/>
              <a:gd name="connsiteX7" fmla="*/ 3665469 w 9144000"/>
              <a:gd name="connsiteY7" fmla="*/ 180020 h 2405896"/>
              <a:gd name="connsiteX8" fmla="*/ 4575731 w 9144000"/>
              <a:gd name="connsiteY8" fmla="*/ 783382 h 2405896"/>
              <a:gd name="connsiteX9" fmla="*/ 5485994 w 9144000"/>
              <a:gd name="connsiteY9" fmla="*/ 180020 h 2405896"/>
              <a:gd name="connsiteX10" fmla="*/ 5541875 w 9144000"/>
              <a:gd name="connsiteY10" fmla="*/ 0 h 2405896"/>
              <a:gd name="connsiteX11" fmla="*/ 6241028 w 9144000"/>
              <a:gd name="connsiteY11" fmla="*/ 0 h 2405896"/>
              <a:gd name="connsiteX12" fmla="*/ 6296909 w 9144000"/>
              <a:gd name="connsiteY12" fmla="*/ 180020 h 2405896"/>
              <a:gd name="connsiteX13" fmla="*/ 7207171 w 9144000"/>
              <a:gd name="connsiteY13" fmla="*/ 783382 h 2405896"/>
              <a:gd name="connsiteX14" fmla="*/ 8117434 w 9144000"/>
              <a:gd name="connsiteY14" fmla="*/ 180020 h 2405896"/>
              <a:gd name="connsiteX15" fmla="*/ 8173315 w 9144000"/>
              <a:gd name="connsiteY15" fmla="*/ 0 h 2405896"/>
              <a:gd name="connsiteX16" fmla="*/ 9144000 w 9144000"/>
              <a:gd name="connsiteY16" fmla="*/ 0 h 2405896"/>
              <a:gd name="connsiteX17" fmla="*/ 9144000 w 9144000"/>
              <a:gd name="connsiteY17" fmla="*/ 2405896 h 2405896"/>
              <a:gd name="connsiteX18" fmla="*/ 0 w 9144000"/>
              <a:gd name="connsiteY18" fmla="*/ 2405896 h 2405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4000" h="2405896">
                <a:moveTo>
                  <a:pt x="0" y="0"/>
                </a:moveTo>
                <a:lnTo>
                  <a:pt x="978148" y="0"/>
                </a:lnTo>
                <a:lnTo>
                  <a:pt x="1034029" y="180020"/>
                </a:lnTo>
                <a:cubicBezTo>
                  <a:pt x="1184000" y="534591"/>
                  <a:pt x="1535091" y="783382"/>
                  <a:pt x="1944291" y="783382"/>
                </a:cubicBezTo>
                <a:cubicBezTo>
                  <a:pt x="2353491" y="783382"/>
                  <a:pt x="2704583" y="534591"/>
                  <a:pt x="2854553" y="180020"/>
                </a:cubicBezTo>
                <a:lnTo>
                  <a:pt x="2910435" y="0"/>
                </a:lnTo>
                <a:lnTo>
                  <a:pt x="3609588" y="0"/>
                </a:lnTo>
                <a:lnTo>
                  <a:pt x="3665469" y="180020"/>
                </a:lnTo>
                <a:cubicBezTo>
                  <a:pt x="3815440" y="534591"/>
                  <a:pt x="4166531" y="783382"/>
                  <a:pt x="4575731" y="783382"/>
                </a:cubicBezTo>
                <a:cubicBezTo>
                  <a:pt x="4984931" y="783382"/>
                  <a:pt x="5336023" y="534591"/>
                  <a:pt x="5485994" y="180020"/>
                </a:cubicBezTo>
                <a:lnTo>
                  <a:pt x="5541875" y="0"/>
                </a:lnTo>
                <a:lnTo>
                  <a:pt x="6241028" y="0"/>
                </a:lnTo>
                <a:lnTo>
                  <a:pt x="6296909" y="180020"/>
                </a:lnTo>
                <a:cubicBezTo>
                  <a:pt x="6446880" y="534591"/>
                  <a:pt x="6797971" y="783382"/>
                  <a:pt x="7207171" y="783382"/>
                </a:cubicBezTo>
                <a:cubicBezTo>
                  <a:pt x="7616371" y="783382"/>
                  <a:pt x="7967463" y="534591"/>
                  <a:pt x="8117434" y="180020"/>
                </a:cubicBezTo>
                <a:lnTo>
                  <a:pt x="8173315" y="0"/>
                </a:lnTo>
                <a:lnTo>
                  <a:pt x="9144000" y="0"/>
                </a:lnTo>
                <a:lnTo>
                  <a:pt x="9144000" y="2405896"/>
                </a:lnTo>
                <a:lnTo>
                  <a:pt x="0" y="24058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83483715-6C76-F81F-3BE1-3041DE1D62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115616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Espace réservé pour une image  5">
            <a:extLst>
              <a:ext uri="{FF2B5EF4-FFF2-40B4-BE49-F238E27FC236}">
                <a16:creationId xmlns:a16="http://schemas.microsoft.com/office/drawing/2014/main" id="{8B28EA9B-4BEE-AF91-31B2-5CA2E47FC17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43325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Espace réservé pour une image  5">
            <a:extLst>
              <a:ext uri="{FF2B5EF4-FFF2-40B4-BE49-F238E27FC236}">
                <a16:creationId xmlns:a16="http://schemas.microsoft.com/office/drawing/2014/main" id="{E7268D60-2D79-7EF5-8E0F-092E119C27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71034" y="1220897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384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5" y="4795195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262675"/>
            <a:ext cx="591950" cy="307777"/>
          </a:xfrm>
        </p:spPr>
        <p:txBody>
          <a:bodyPr>
            <a:spAutoFit/>
          </a:bodyPr>
          <a:lstStyle>
            <a:lvl1pPr algn="ct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3" y="975123"/>
            <a:ext cx="7780543" cy="32682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8348146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20282" y="1131589"/>
            <a:ext cx="4036842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15907287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1957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719951" y="612000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364687C-C14E-1069-BAEB-220AB22B7456}"/>
              </a:ext>
            </a:extLst>
          </p:cNvPr>
          <p:cNvCxnSpPr>
            <a:cxnSpLocks/>
          </p:cNvCxnSpPr>
          <p:nvPr userDrawn="1"/>
        </p:nvCxnSpPr>
        <p:spPr>
          <a:xfrm>
            <a:off x="438758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2ADC34B3-978F-2FD6-171A-D0A8CCB0AE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796136" y="1131589"/>
            <a:ext cx="2960988" cy="3712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3459878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0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19" y="612000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0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286D89A0-F3CE-7828-B34B-8C462E27A2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87900" y="193675"/>
            <a:ext cx="4105275" cy="446563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52647D7-5C0D-E87D-2DA8-D38CA3210BAA}"/>
              </a:ext>
            </a:extLst>
          </p:cNvPr>
          <p:cNvCxnSpPr>
            <a:cxnSpLocks/>
          </p:cNvCxnSpPr>
          <p:nvPr userDrawn="1"/>
        </p:nvCxnSpPr>
        <p:spPr>
          <a:xfrm>
            <a:off x="2317357" y="555526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2010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540" y="194400"/>
            <a:ext cx="4140460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431919" y="612000"/>
            <a:ext cx="4140053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1540" y="1131590"/>
            <a:ext cx="4140052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51684275-ED98-9B2F-FD34-A2F54D629C73}"/>
              </a:ext>
            </a:extLst>
          </p:cNvPr>
          <p:cNvCxnSpPr>
            <a:cxnSpLocks/>
          </p:cNvCxnSpPr>
          <p:nvPr userDrawn="1"/>
        </p:nvCxnSpPr>
        <p:spPr>
          <a:xfrm>
            <a:off x="4387178" y="404762"/>
            <a:ext cx="3688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90833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63" y="194400"/>
            <a:ext cx="3421868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323906" y="612000"/>
            <a:ext cx="3421532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323528" y="1131590"/>
            <a:ext cx="3421531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1882090" y="555526"/>
            <a:ext cx="3048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9046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6034" y="194400"/>
            <a:ext cx="5009957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646280" y="612000"/>
            <a:ext cx="5009464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400" b="0" i="0" baseline="0">
                <a:solidFill>
                  <a:srgbClr val="B24388"/>
                </a:solidFill>
                <a:latin typeface="Montserrat" pitchFamily="2" charset="77"/>
              </a:defRPr>
            </a:lvl1pPr>
            <a:lvl2pPr marL="457200" indent="0">
              <a:buNone/>
              <a:defRPr sz="1200" b="0">
                <a:solidFill>
                  <a:schemeClr val="bg1"/>
                </a:solidFill>
              </a:defRPr>
            </a:lvl2pPr>
            <a:lvl3pPr marL="914400" indent="0">
              <a:buNone/>
              <a:defRPr sz="1200" b="0">
                <a:solidFill>
                  <a:schemeClr val="bg1"/>
                </a:solidFill>
              </a:defRPr>
            </a:lvl3pPr>
            <a:lvl4pPr marL="1371600" indent="0">
              <a:buNone/>
              <a:defRPr sz="1200" b="0">
                <a:solidFill>
                  <a:schemeClr val="bg1"/>
                </a:solidFill>
              </a:defRPr>
            </a:lvl4pPr>
            <a:lvl5pPr marL="1828800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197CFB0-D827-6CB7-46E6-DA26689EC11A}"/>
              </a:ext>
            </a:extLst>
          </p:cNvPr>
          <p:cNvCxnSpPr>
            <a:cxnSpLocks/>
          </p:cNvCxnSpPr>
          <p:nvPr userDrawn="1"/>
        </p:nvCxnSpPr>
        <p:spPr>
          <a:xfrm>
            <a:off x="4050164" y="555526"/>
            <a:ext cx="3352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0D88D6E-B44C-19F0-91AC-56BAA849AB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99259" y="530050"/>
            <a:ext cx="1816041" cy="3926632"/>
          </a:xfrm>
          <a:custGeom>
            <a:avLst/>
            <a:gdLst>
              <a:gd name="connsiteX0" fmla="*/ 1997791 w 2516552"/>
              <a:gd name="connsiteY0" fmla="*/ 12 h 5441271"/>
              <a:gd name="connsiteX1" fmla="*/ 2004211 w 2516552"/>
              <a:gd name="connsiteY1" fmla="*/ 566 h 5441271"/>
              <a:gd name="connsiteX2" fmla="*/ 2267990 w 2516552"/>
              <a:gd name="connsiteY2" fmla="*/ 566 h 5441271"/>
              <a:gd name="connsiteX3" fmla="*/ 2516552 w 2516552"/>
              <a:gd name="connsiteY3" fmla="*/ 261335 h 5441271"/>
              <a:gd name="connsiteX4" fmla="*/ 2516552 w 2516552"/>
              <a:gd name="connsiteY4" fmla="*/ 5170375 h 5441271"/>
              <a:gd name="connsiteX5" fmla="*/ 2255309 w 2516552"/>
              <a:gd name="connsiteY5" fmla="*/ 5441271 h 5441271"/>
              <a:gd name="connsiteX6" fmla="*/ 269354 w 2516552"/>
              <a:gd name="connsiteY6" fmla="*/ 5441271 h 5441271"/>
              <a:gd name="connsiteX7" fmla="*/ 501 w 2516552"/>
              <a:gd name="connsiteY7" fmla="*/ 5157717 h 5441271"/>
              <a:gd name="connsiteX8" fmla="*/ 501 w 2516552"/>
              <a:gd name="connsiteY8" fmla="*/ 317034 h 5441271"/>
              <a:gd name="connsiteX9" fmla="*/ 61373 w 2516552"/>
              <a:gd name="connsiteY9" fmla="*/ 101836 h 5441271"/>
              <a:gd name="connsiteX10" fmla="*/ 269354 w 2516552"/>
              <a:gd name="connsiteY10" fmla="*/ 566 h 5441271"/>
              <a:gd name="connsiteX11" fmla="*/ 512842 w 2516552"/>
              <a:gd name="connsiteY11" fmla="*/ 566 h 5441271"/>
              <a:gd name="connsiteX12" fmla="*/ 566105 w 2516552"/>
              <a:gd name="connsiteY12" fmla="*/ 41074 h 5441271"/>
              <a:gd name="connsiteX13" fmla="*/ 566105 w 2516552"/>
              <a:gd name="connsiteY13" fmla="*/ 81582 h 5441271"/>
              <a:gd name="connsiteX14" fmla="*/ 713213 w 2516552"/>
              <a:gd name="connsiteY14" fmla="*/ 200574 h 5441271"/>
              <a:gd name="connsiteX15" fmla="*/ 1824131 w 2516552"/>
              <a:gd name="connsiteY15" fmla="*/ 200574 h 5441271"/>
              <a:gd name="connsiteX16" fmla="*/ 1958557 w 2516552"/>
              <a:gd name="connsiteY16" fmla="*/ 73987 h 5441271"/>
              <a:gd name="connsiteX17" fmla="*/ 1958557 w 2516552"/>
              <a:gd name="connsiteY17" fmla="*/ 33479 h 5441271"/>
              <a:gd name="connsiteX18" fmla="*/ 1997791 w 2516552"/>
              <a:gd name="connsiteY18" fmla="*/ 12 h 5441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6552" h="5441271">
                <a:moveTo>
                  <a:pt x="1997791" y="12"/>
                </a:moveTo>
                <a:cubicBezTo>
                  <a:pt x="2001675" y="92"/>
                  <a:pt x="2004211" y="566"/>
                  <a:pt x="2004211" y="566"/>
                </a:cubicBezTo>
                <a:cubicBezTo>
                  <a:pt x="2004211" y="566"/>
                  <a:pt x="2006747" y="566"/>
                  <a:pt x="2267990" y="566"/>
                </a:cubicBezTo>
                <a:cubicBezTo>
                  <a:pt x="2511479" y="23352"/>
                  <a:pt x="2516552" y="261335"/>
                  <a:pt x="2516552" y="261335"/>
                </a:cubicBezTo>
                <a:cubicBezTo>
                  <a:pt x="2516552" y="261335"/>
                  <a:pt x="2516552" y="4904543"/>
                  <a:pt x="2516552" y="5170375"/>
                </a:cubicBezTo>
                <a:cubicBezTo>
                  <a:pt x="2501334" y="5438740"/>
                  <a:pt x="2255309" y="5441271"/>
                  <a:pt x="2255309" y="5441271"/>
                </a:cubicBezTo>
                <a:cubicBezTo>
                  <a:pt x="2255309" y="5441271"/>
                  <a:pt x="558496" y="5441271"/>
                  <a:pt x="269354" y="5441271"/>
                </a:cubicBezTo>
                <a:cubicBezTo>
                  <a:pt x="-14717" y="5410890"/>
                  <a:pt x="501" y="5157717"/>
                  <a:pt x="501" y="5157717"/>
                </a:cubicBezTo>
                <a:cubicBezTo>
                  <a:pt x="501" y="5157717"/>
                  <a:pt x="501" y="372732"/>
                  <a:pt x="501" y="317034"/>
                </a:cubicBezTo>
                <a:cubicBezTo>
                  <a:pt x="501" y="258804"/>
                  <a:pt x="-9644" y="195510"/>
                  <a:pt x="61373" y="101836"/>
                </a:cubicBezTo>
                <a:cubicBezTo>
                  <a:pt x="134927" y="-1965"/>
                  <a:pt x="269354" y="566"/>
                  <a:pt x="269354" y="566"/>
                </a:cubicBezTo>
                <a:cubicBezTo>
                  <a:pt x="269354" y="566"/>
                  <a:pt x="457043" y="566"/>
                  <a:pt x="512842" y="566"/>
                </a:cubicBezTo>
                <a:cubicBezTo>
                  <a:pt x="566105" y="566"/>
                  <a:pt x="566105" y="41074"/>
                  <a:pt x="566105" y="41074"/>
                </a:cubicBezTo>
                <a:cubicBezTo>
                  <a:pt x="566105" y="41074"/>
                  <a:pt x="566105" y="38542"/>
                  <a:pt x="566105" y="81582"/>
                </a:cubicBezTo>
                <a:cubicBezTo>
                  <a:pt x="583860" y="205637"/>
                  <a:pt x="713213" y="200574"/>
                  <a:pt x="713213" y="200574"/>
                </a:cubicBezTo>
                <a:cubicBezTo>
                  <a:pt x="713213" y="200574"/>
                  <a:pt x="1702386" y="200574"/>
                  <a:pt x="1824131" y="200574"/>
                </a:cubicBezTo>
                <a:cubicBezTo>
                  <a:pt x="1943339" y="192978"/>
                  <a:pt x="1958557" y="73987"/>
                  <a:pt x="1958557" y="73987"/>
                </a:cubicBezTo>
                <a:cubicBezTo>
                  <a:pt x="1958557" y="73987"/>
                  <a:pt x="1958557" y="73987"/>
                  <a:pt x="1958557" y="33479"/>
                </a:cubicBezTo>
                <a:cubicBezTo>
                  <a:pt x="1962362" y="3098"/>
                  <a:pt x="1986140" y="-225"/>
                  <a:pt x="1997791" y="1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0" name="Espace réservé du contenu 5">
            <a:extLst>
              <a:ext uri="{FF2B5EF4-FFF2-40B4-BE49-F238E27FC236}">
                <a16:creationId xmlns:a16="http://schemas.microsoft.com/office/drawing/2014/main" id="{F8EEA7D8-F067-CAB5-3125-4A2F2C4E1E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540" y="1130245"/>
            <a:ext cx="5436604" cy="35277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36557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B69CC2F4-78BA-1CA2-691C-D505603BF66A}"/>
              </a:ext>
            </a:extLst>
          </p:cNvPr>
          <p:cNvGrpSpPr/>
          <p:nvPr userDrawn="1"/>
        </p:nvGrpSpPr>
        <p:grpSpPr>
          <a:xfrm>
            <a:off x="254503" y="3516214"/>
            <a:ext cx="8634995" cy="1515240"/>
            <a:chOff x="254503" y="3516214"/>
            <a:chExt cx="8634995" cy="1515240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89839DE1-8DA0-04E6-DED5-10744C4625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3965"/>
            <a:stretch/>
          </p:blipFill>
          <p:spPr>
            <a:xfrm>
              <a:off x="254503" y="4324739"/>
              <a:ext cx="8634995" cy="706715"/>
            </a:xfrm>
            <a:prstGeom prst="rect">
              <a:avLst/>
            </a:prstGeom>
          </p:spPr>
        </p:pic>
        <p:sp>
          <p:nvSpPr>
            <p:cNvPr id="4" name="Shape 190">
              <a:hlinkClick r:id="rId3"/>
              <a:extLst>
                <a:ext uri="{FF2B5EF4-FFF2-40B4-BE49-F238E27FC236}">
                  <a16:creationId xmlns:a16="http://schemas.microsoft.com/office/drawing/2014/main" id="{21C28530-CE5D-8A32-3C0E-6C7402E7967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861869" y="3516214"/>
              <a:ext cx="1420261" cy="148823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2000" b="1" i="0" u="none" strike="noStrike" cap="all" baseline="0">
                  <a:solidFill>
                    <a:schemeClr val="accent1"/>
                  </a:solidFill>
                  <a:latin typeface="Arial Narrow" panose="020B0606020202030204" pitchFamily="34" charset="0"/>
                  <a:ea typeface="Arial Narrow" panose="020B0606020202030204" pitchFamily="34" charset="0"/>
                  <a:cs typeface="Arial"/>
                  <a:sym typeface="Arial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fr-FR" sz="1200" b="1" i="0" cap="none" err="1">
                  <a:solidFill>
                    <a:schemeClr val="accent1"/>
                  </a:solidFill>
                  <a:latin typeface="Montserrat SemiBold" pitchFamily="2" charset="77"/>
                  <a:ea typeface="Cabin"/>
                  <a:cs typeface="Cabin"/>
                  <a:sym typeface="Cabin"/>
                </a:rPr>
                <a:t>groupeBPCE.com</a:t>
              </a:r>
              <a:endParaRPr lang="fr-FR" sz="1200" b="1" i="0" cap="none">
                <a:solidFill>
                  <a:schemeClr val="accent1"/>
                </a:solidFill>
                <a:latin typeface="Montserrat SemiBold" pitchFamily="2" charset="77"/>
                <a:ea typeface="Cabin"/>
                <a:cs typeface="Cabin"/>
                <a:sym typeface="Cabin"/>
              </a:endParaRPr>
            </a:p>
          </p:txBody>
        </p:sp>
      </p:grpSp>
      <p:pic>
        <p:nvPicPr>
          <p:cNvPr id="5" name="Image 4" descr="Une image contenant Police, logo, Graphique, conception">
            <a:extLst>
              <a:ext uri="{FF2B5EF4-FFF2-40B4-BE49-F238E27FC236}">
                <a16:creationId xmlns:a16="http://schemas.microsoft.com/office/drawing/2014/main" id="{125E1129-A5A6-38AF-C208-748AE94F388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3350" y="2260600"/>
            <a:ext cx="37973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185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1"/>
          <p:cNvSpPr>
            <a:spLocks noGrp="1"/>
          </p:cNvSpPr>
          <p:nvPr>
            <p:ph sz="quarter" idx="14"/>
          </p:nvPr>
        </p:nvSpPr>
        <p:spPr>
          <a:xfrm>
            <a:off x="900113" y="1131889"/>
            <a:ext cx="3600450" cy="3711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6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4716464" y="1131889"/>
            <a:ext cx="3887787" cy="3711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900385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8143776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99592" y="194400"/>
            <a:ext cx="7704856" cy="337362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52"/>
          <p:cNvSpPr>
            <a:spLocks noGrp="1"/>
          </p:cNvSpPr>
          <p:nvPr>
            <p:ph type="body" sz="quarter" idx="12" hasCustomPrompt="1"/>
          </p:nvPr>
        </p:nvSpPr>
        <p:spPr>
          <a:xfrm>
            <a:off x="900385" y="612001"/>
            <a:ext cx="7704098" cy="2880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1" i="0" baseline="0">
                <a:solidFill>
                  <a:srgbClr val="B24388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1200" b="0">
                <a:solidFill>
                  <a:schemeClr val="bg1"/>
                </a:solidFill>
              </a:defRPr>
            </a:lvl2pPr>
            <a:lvl3pPr marL="914378" indent="0">
              <a:buNone/>
              <a:defRPr sz="1200" b="0">
                <a:solidFill>
                  <a:schemeClr val="bg1"/>
                </a:solidFill>
              </a:defRPr>
            </a:lvl3pPr>
            <a:lvl4pPr marL="1371566" indent="0">
              <a:buNone/>
              <a:defRPr sz="1200" b="0">
                <a:solidFill>
                  <a:schemeClr val="bg1"/>
                </a:solidFill>
              </a:defRPr>
            </a:lvl4pPr>
            <a:lvl5pPr marL="1828754" indent="0">
              <a:buNone/>
              <a:defRPr sz="1200" b="0">
                <a:solidFill>
                  <a:schemeClr val="bg1"/>
                </a:solidFill>
              </a:defRPr>
            </a:lvl5pPr>
          </a:lstStyle>
          <a:p>
            <a:pPr>
              <a:defRPr/>
            </a:pPr>
            <a:r>
              <a:rPr lang="fr-FR"/>
              <a:t>Sous titre de la slide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899592" y="1131590"/>
            <a:ext cx="7704856" cy="3712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20668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pture d’écran, noir, noir et blanc&#10;&#10;Description générée automatiquement">
            <a:extLst>
              <a:ext uri="{FF2B5EF4-FFF2-40B4-BE49-F238E27FC236}">
                <a16:creationId xmlns:a16="http://schemas.microsoft.com/office/drawing/2014/main" id="{E7773C3C-4919-A277-824D-8E812D93B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261"/>
          <a:stretch/>
        </p:blipFill>
        <p:spPr>
          <a:xfrm>
            <a:off x="3661091" y="1780953"/>
            <a:ext cx="5482909" cy="2229304"/>
          </a:xfrm>
          <a:prstGeom prst="rect">
            <a:avLst/>
          </a:prstGeom>
        </p:spPr>
      </p:pic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5A2E88AA-2616-E64C-069B-C9731FB1FDF6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683568" y="4959762"/>
            <a:ext cx="1452321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PIL DATA &amp; AI For Business</a:t>
            </a:r>
          </a:p>
        </p:txBody>
      </p:sp>
    </p:spTree>
    <p:extLst>
      <p:ext uri="{BB962C8B-B14F-4D97-AF65-F5344CB8AC3E}">
        <p14:creationId xmlns:p14="http://schemas.microsoft.com/office/powerpoint/2010/main" val="439931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9" Type="http://schemas.openxmlformats.org/officeDocument/2006/relationships/tags" Target="../tags/tag37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42" Type="http://schemas.openxmlformats.org/officeDocument/2006/relationships/image" Target="../media/image12.png"/><Relationship Id="rId7" Type="http://schemas.openxmlformats.org/officeDocument/2006/relationships/tags" Target="../tags/tag5.xml"/><Relationship Id="rId2" Type="http://schemas.openxmlformats.org/officeDocument/2006/relationships/theme" Target="../theme/theme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41" Type="http://schemas.openxmlformats.org/officeDocument/2006/relationships/tags" Target="../tags/tag3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tags" Target="../tags/tag35.xml"/><Relationship Id="rId40" Type="http://schemas.openxmlformats.org/officeDocument/2006/relationships/tags" Target="../tags/tag38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tags" Target="../tags/tag34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tags" Target="../tags/tag33.xml"/><Relationship Id="rId43" Type="http://schemas.openxmlformats.org/officeDocument/2006/relationships/image" Target="../media/image13.png"/><Relationship Id="rId8" Type="http://schemas.openxmlformats.org/officeDocument/2006/relationships/tags" Target="../tags/tag6.xml"/><Relationship Id="rId3" Type="http://schemas.openxmlformats.org/officeDocument/2006/relationships/tags" Target="../tags/tag1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38" Type="http://schemas.openxmlformats.org/officeDocument/2006/relationships/tags" Target="../tags/tag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14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22.png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image" Target="../media/image14.png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080005" y="294625"/>
            <a:ext cx="7780043" cy="4563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 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80005" y="975600"/>
            <a:ext cx="778004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448000" y="4893579"/>
            <a:ext cx="501616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0" cap="none" baseline="0">
                <a:solidFill>
                  <a:srgbClr val="7F7F7F"/>
                </a:solidFill>
              </a:defRPr>
            </a:lvl1pPr>
          </a:lstStyle>
          <a:p>
            <a:r>
              <a:rPr lang="fr-FR"/>
              <a:t>CEGC – Kick off - Envoi aux Avocat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80000" y="4893579"/>
            <a:ext cx="1908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 b="1" cap="all" baseline="0">
                <a:solidFill>
                  <a:schemeClr val="tx2"/>
                </a:solidFill>
              </a:defRPr>
            </a:lvl1pPr>
          </a:lstStyle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object 13"/>
          <p:cNvSpPr/>
          <p:nvPr userDrawn="1"/>
        </p:nvSpPr>
        <p:spPr>
          <a:xfrm rot="16200000">
            <a:off x="848592" y="424680"/>
            <a:ext cx="462823" cy="262621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8179562" y="4850742"/>
            <a:ext cx="690372" cy="178038"/>
          </a:xfrm>
          <a:prstGeom prst="rect">
            <a:avLst/>
          </a:pr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381494" y="4893579"/>
            <a:ext cx="1008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800" b="0" cap="all" baseline="0" smtClean="0">
                <a:solidFill>
                  <a:srgbClr val="7F7F7F"/>
                </a:solidFill>
              </a:defRPr>
            </a:lvl1pPr>
          </a:lstStyle>
          <a:p>
            <a:r>
              <a:rPr lang="fr-FR"/>
              <a:t>18/02/2021</a:t>
            </a:r>
          </a:p>
        </p:txBody>
      </p:sp>
    </p:spTree>
    <p:extLst>
      <p:ext uri="{BB962C8B-B14F-4D97-AF65-F5344CB8AC3E}">
        <p14:creationId xmlns:p14="http://schemas.microsoft.com/office/powerpoint/2010/main" val="108192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93" r:id="rId4"/>
    <p:sldLayoutId id="2147483677" r:id="rId5"/>
    <p:sldLayoutId id="2147483650" r:id="rId6"/>
    <p:sldLayoutId id="2147483657" r:id="rId7"/>
    <p:sldLayoutId id="2147483658" r:id="rId8"/>
    <p:sldLayoutId id="2147483655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7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3" r:id="rId24"/>
    <p:sldLayoutId id="2147483674" r:id="rId25"/>
    <p:sldLayoutId id="2147483675" r:id="rId26"/>
    <p:sldLayoutId id="2147483694" r:id="rId27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7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16000" indent="-216000" algn="l" defTabSz="685783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 3" panose="05040102010807070707" pitchFamily="18" charset="2"/>
        <a:buChar char="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685783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"/>
        <a:defRPr sz="1300" b="0" kern="1200" cap="none" baseline="0">
          <a:solidFill>
            <a:schemeClr val="tx1"/>
          </a:solidFill>
          <a:latin typeface="+mn-lt"/>
          <a:ea typeface="+mn-ea"/>
          <a:cs typeface="+mn-cs"/>
        </a:defRPr>
      </a:lvl3pPr>
      <a:lvl4pPr marL="450000" indent="-180000" algn="l" defTabSz="685783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3" panose="05040102010807070707" pitchFamily="18" charset="2"/>
        <a:buChar char="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594000" indent="-129600" algn="l" defTabSz="685783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83185" indent="-129597" algn="l" defTabSz="685783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3" userDrawn="1">
          <p15:clr>
            <a:srgbClr val="F26B43"/>
          </p15:clr>
        </p15:guide>
        <p15:guide id="2" pos="678" userDrawn="1">
          <p15:clr>
            <a:srgbClr val="F26B43"/>
          </p15:clr>
        </p15:guide>
        <p15:guide id="3" pos="5585" userDrawn="1">
          <p15:clr>
            <a:srgbClr val="F26B43"/>
          </p15:clr>
        </p15:guide>
        <p15:guide id="6" orient="horz" pos="204" userDrawn="1">
          <p15:clr>
            <a:srgbClr val="F26B43"/>
          </p15:clr>
        </p15:guide>
        <p15:guide id="7" pos="1872" userDrawn="1">
          <p15:clr>
            <a:srgbClr val="F26B43"/>
          </p15:clr>
        </p15:guide>
        <p15:guide id="8" orient="horz" pos="38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80007" y="975600"/>
            <a:ext cx="778004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object 13"/>
          <p:cNvSpPr/>
          <p:nvPr/>
        </p:nvSpPr>
        <p:spPr>
          <a:xfrm rot="16200000">
            <a:off x="762399" y="329296"/>
            <a:ext cx="635213" cy="262621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22" name="Gauge 3" hidden="1">
            <a:extLst>
              <a:ext uri="{FF2B5EF4-FFF2-40B4-BE49-F238E27FC236}">
                <a16:creationId xmlns:a16="http://schemas.microsoft.com/office/drawing/2014/main" id="{D9C00E80-87AF-46E0-BA7C-95CABEAA4632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>
            <a:off x="9271000" y="2"/>
            <a:ext cx="581964" cy="281343"/>
            <a:chOff x="1939925" y="2867025"/>
            <a:chExt cx="1773238" cy="857250"/>
          </a:xfrm>
        </p:grpSpPr>
        <p:sp>
          <p:nvSpPr>
            <p:cNvPr id="23" name="Background [-1]" hidden="1">
              <a:extLst>
                <a:ext uri="{FF2B5EF4-FFF2-40B4-BE49-F238E27FC236}">
                  <a16:creationId xmlns:a16="http://schemas.microsoft.com/office/drawing/2014/main" id="{F061A7C4-94B3-46C8-800E-6C17BA861B29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939925" y="2867025"/>
              <a:ext cx="1773238" cy="857250"/>
            </a:xfrm>
            <a:custGeom>
              <a:avLst/>
              <a:gdLst>
                <a:gd name="T0" fmla="*/ 2231 w 4464"/>
                <a:gd name="T1" fmla="*/ 0 h 2158"/>
                <a:gd name="T2" fmla="*/ 2139 w 4464"/>
                <a:gd name="T3" fmla="*/ 2 h 2158"/>
                <a:gd name="T4" fmla="*/ 1954 w 4464"/>
                <a:gd name="T5" fmla="*/ 16 h 2158"/>
                <a:gd name="T6" fmla="*/ 1773 w 4464"/>
                <a:gd name="T7" fmla="*/ 45 h 2158"/>
                <a:gd name="T8" fmla="*/ 1595 w 4464"/>
                <a:gd name="T9" fmla="*/ 87 h 2158"/>
                <a:gd name="T10" fmla="*/ 1424 w 4464"/>
                <a:gd name="T11" fmla="*/ 142 h 2158"/>
                <a:gd name="T12" fmla="*/ 1258 w 4464"/>
                <a:gd name="T13" fmla="*/ 209 h 2158"/>
                <a:gd name="T14" fmla="*/ 1096 w 4464"/>
                <a:gd name="T15" fmla="*/ 289 h 2158"/>
                <a:gd name="T16" fmla="*/ 942 w 4464"/>
                <a:gd name="T17" fmla="*/ 380 h 2158"/>
                <a:gd name="T18" fmla="*/ 797 w 4464"/>
                <a:gd name="T19" fmla="*/ 482 h 2158"/>
                <a:gd name="T20" fmla="*/ 658 w 4464"/>
                <a:gd name="T21" fmla="*/ 595 h 2158"/>
                <a:gd name="T22" fmla="*/ 528 w 4464"/>
                <a:gd name="T23" fmla="*/ 720 h 2158"/>
                <a:gd name="T24" fmla="*/ 408 w 4464"/>
                <a:gd name="T25" fmla="*/ 853 h 2158"/>
                <a:gd name="T26" fmla="*/ 298 w 4464"/>
                <a:gd name="T27" fmla="*/ 996 h 2158"/>
                <a:gd name="T28" fmla="*/ 198 w 4464"/>
                <a:gd name="T29" fmla="*/ 1147 h 2158"/>
                <a:gd name="T30" fmla="*/ 109 w 4464"/>
                <a:gd name="T31" fmla="*/ 1307 h 2158"/>
                <a:gd name="T32" fmla="*/ 32 w 4464"/>
                <a:gd name="T33" fmla="*/ 1476 h 2158"/>
                <a:gd name="T34" fmla="*/ 0 w 4464"/>
                <a:gd name="T35" fmla="*/ 1563 h 2158"/>
                <a:gd name="T36" fmla="*/ 1615 w 4464"/>
                <a:gd name="T37" fmla="*/ 2151 h 2158"/>
                <a:gd name="T38" fmla="*/ 1636 w 4464"/>
                <a:gd name="T39" fmla="*/ 2108 h 2158"/>
                <a:gd name="T40" fmla="*/ 1688 w 4464"/>
                <a:gd name="T41" fmla="*/ 2027 h 2158"/>
                <a:gd name="T42" fmla="*/ 1751 w 4464"/>
                <a:gd name="T43" fmla="*/ 1955 h 2158"/>
                <a:gd name="T44" fmla="*/ 1821 w 4464"/>
                <a:gd name="T45" fmla="*/ 1892 h 2158"/>
                <a:gd name="T46" fmla="*/ 1901 w 4464"/>
                <a:gd name="T47" fmla="*/ 1842 h 2158"/>
                <a:gd name="T48" fmla="*/ 1986 w 4464"/>
                <a:gd name="T49" fmla="*/ 1802 h 2158"/>
                <a:gd name="T50" fmla="*/ 2077 w 4464"/>
                <a:gd name="T51" fmla="*/ 1775 h 2158"/>
                <a:gd name="T52" fmla="*/ 2172 w 4464"/>
                <a:gd name="T53" fmla="*/ 1761 h 2158"/>
                <a:gd name="T54" fmla="*/ 2221 w 4464"/>
                <a:gd name="T55" fmla="*/ 1759 h 2158"/>
                <a:gd name="T56" fmla="*/ 2271 w 4464"/>
                <a:gd name="T57" fmla="*/ 1761 h 2158"/>
                <a:gd name="T58" fmla="*/ 2367 w 4464"/>
                <a:gd name="T59" fmla="*/ 1775 h 2158"/>
                <a:gd name="T60" fmla="*/ 2458 w 4464"/>
                <a:gd name="T61" fmla="*/ 1804 h 2158"/>
                <a:gd name="T62" fmla="*/ 2544 w 4464"/>
                <a:gd name="T63" fmla="*/ 1843 h 2158"/>
                <a:gd name="T64" fmla="*/ 2623 w 4464"/>
                <a:gd name="T65" fmla="*/ 1895 h 2158"/>
                <a:gd name="T66" fmla="*/ 2695 w 4464"/>
                <a:gd name="T67" fmla="*/ 1959 h 2158"/>
                <a:gd name="T68" fmla="*/ 2757 w 4464"/>
                <a:gd name="T69" fmla="*/ 2031 h 2158"/>
                <a:gd name="T70" fmla="*/ 2808 w 4464"/>
                <a:gd name="T71" fmla="*/ 2114 h 2158"/>
                <a:gd name="T72" fmla="*/ 2829 w 4464"/>
                <a:gd name="T73" fmla="*/ 2158 h 2158"/>
                <a:gd name="T74" fmla="*/ 4464 w 4464"/>
                <a:gd name="T75" fmla="*/ 1563 h 2158"/>
                <a:gd name="T76" fmla="*/ 4431 w 4464"/>
                <a:gd name="T77" fmla="*/ 1476 h 2158"/>
                <a:gd name="T78" fmla="*/ 4354 w 4464"/>
                <a:gd name="T79" fmla="*/ 1307 h 2158"/>
                <a:gd name="T80" fmla="*/ 4266 w 4464"/>
                <a:gd name="T81" fmla="*/ 1147 h 2158"/>
                <a:gd name="T82" fmla="*/ 4166 w 4464"/>
                <a:gd name="T83" fmla="*/ 996 h 2158"/>
                <a:gd name="T84" fmla="*/ 4055 w 4464"/>
                <a:gd name="T85" fmla="*/ 853 h 2158"/>
                <a:gd name="T86" fmla="*/ 3936 w 4464"/>
                <a:gd name="T87" fmla="*/ 720 h 2158"/>
                <a:gd name="T88" fmla="*/ 3805 w 4464"/>
                <a:gd name="T89" fmla="*/ 595 h 2158"/>
                <a:gd name="T90" fmla="*/ 3667 w 4464"/>
                <a:gd name="T91" fmla="*/ 482 h 2158"/>
                <a:gd name="T92" fmla="*/ 3520 w 4464"/>
                <a:gd name="T93" fmla="*/ 380 h 2158"/>
                <a:gd name="T94" fmla="*/ 3366 w 4464"/>
                <a:gd name="T95" fmla="*/ 289 h 2158"/>
                <a:gd name="T96" fmla="*/ 3206 w 4464"/>
                <a:gd name="T97" fmla="*/ 209 h 2158"/>
                <a:gd name="T98" fmla="*/ 3040 w 4464"/>
                <a:gd name="T99" fmla="*/ 142 h 2158"/>
                <a:gd name="T100" fmla="*/ 2867 w 4464"/>
                <a:gd name="T101" fmla="*/ 87 h 2158"/>
                <a:gd name="T102" fmla="*/ 2691 w 4464"/>
                <a:gd name="T103" fmla="*/ 45 h 2158"/>
                <a:gd name="T104" fmla="*/ 2510 w 4464"/>
                <a:gd name="T105" fmla="*/ 16 h 2158"/>
                <a:gd name="T106" fmla="*/ 2325 w 4464"/>
                <a:gd name="T107" fmla="*/ 2 h 2158"/>
                <a:gd name="T108" fmla="*/ 2231 w 4464"/>
                <a:gd name="T109" fmla="*/ 0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64" h="2158">
                  <a:moveTo>
                    <a:pt x="2231" y="0"/>
                  </a:moveTo>
                  <a:lnTo>
                    <a:pt x="2139" y="2"/>
                  </a:lnTo>
                  <a:lnTo>
                    <a:pt x="1954" y="16"/>
                  </a:lnTo>
                  <a:lnTo>
                    <a:pt x="1773" y="45"/>
                  </a:lnTo>
                  <a:lnTo>
                    <a:pt x="1595" y="87"/>
                  </a:lnTo>
                  <a:lnTo>
                    <a:pt x="1424" y="142"/>
                  </a:lnTo>
                  <a:lnTo>
                    <a:pt x="1258" y="209"/>
                  </a:lnTo>
                  <a:lnTo>
                    <a:pt x="1096" y="289"/>
                  </a:lnTo>
                  <a:lnTo>
                    <a:pt x="942" y="380"/>
                  </a:lnTo>
                  <a:lnTo>
                    <a:pt x="797" y="482"/>
                  </a:lnTo>
                  <a:lnTo>
                    <a:pt x="658" y="595"/>
                  </a:lnTo>
                  <a:lnTo>
                    <a:pt x="528" y="720"/>
                  </a:lnTo>
                  <a:lnTo>
                    <a:pt x="408" y="853"/>
                  </a:lnTo>
                  <a:lnTo>
                    <a:pt x="298" y="996"/>
                  </a:lnTo>
                  <a:lnTo>
                    <a:pt x="198" y="1147"/>
                  </a:lnTo>
                  <a:lnTo>
                    <a:pt x="109" y="1307"/>
                  </a:lnTo>
                  <a:lnTo>
                    <a:pt x="32" y="1476"/>
                  </a:lnTo>
                  <a:lnTo>
                    <a:pt x="0" y="1563"/>
                  </a:lnTo>
                  <a:lnTo>
                    <a:pt x="1615" y="2151"/>
                  </a:lnTo>
                  <a:lnTo>
                    <a:pt x="1636" y="2108"/>
                  </a:lnTo>
                  <a:lnTo>
                    <a:pt x="1688" y="2027"/>
                  </a:lnTo>
                  <a:lnTo>
                    <a:pt x="1751" y="1955"/>
                  </a:lnTo>
                  <a:lnTo>
                    <a:pt x="1821" y="1892"/>
                  </a:lnTo>
                  <a:lnTo>
                    <a:pt x="1901" y="1842"/>
                  </a:lnTo>
                  <a:lnTo>
                    <a:pt x="1986" y="1802"/>
                  </a:lnTo>
                  <a:lnTo>
                    <a:pt x="2077" y="1775"/>
                  </a:lnTo>
                  <a:lnTo>
                    <a:pt x="2172" y="1761"/>
                  </a:lnTo>
                  <a:lnTo>
                    <a:pt x="2221" y="1759"/>
                  </a:lnTo>
                  <a:lnTo>
                    <a:pt x="2271" y="1761"/>
                  </a:lnTo>
                  <a:lnTo>
                    <a:pt x="2367" y="1775"/>
                  </a:lnTo>
                  <a:lnTo>
                    <a:pt x="2458" y="1804"/>
                  </a:lnTo>
                  <a:lnTo>
                    <a:pt x="2544" y="1843"/>
                  </a:lnTo>
                  <a:lnTo>
                    <a:pt x="2623" y="1895"/>
                  </a:lnTo>
                  <a:lnTo>
                    <a:pt x="2695" y="1959"/>
                  </a:lnTo>
                  <a:lnTo>
                    <a:pt x="2757" y="2031"/>
                  </a:lnTo>
                  <a:lnTo>
                    <a:pt x="2808" y="2114"/>
                  </a:lnTo>
                  <a:lnTo>
                    <a:pt x="2829" y="2158"/>
                  </a:lnTo>
                  <a:lnTo>
                    <a:pt x="4464" y="1563"/>
                  </a:lnTo>
                  <a:lnTo>
                    <a:pt x="4431" y="1476"/>
                  </a:lnTo>
                  <a:lnTo>
                    <a:pt x="4354" y="1307"/>
                  </a:lnTo>
                  <a:lnTo>
                    <a:pt x="4266" y="1147"/>
                  </a:lnTo>
                  <a:lnTo>
                    <a:pt x="4166" y="996"/>
                  </a:lnTo>
                  <a:lnTo>
                    <a:pt x="4055" y="853"/>
                  </a:lnTo>
                  <a:lnTo>
                    <a:pt x="3936" y="720"/>
                  </a:lnTo>
                  <a:lnTo>
                    <a:pt x="3805" y="595"/>
                  </a:lnTo>
                  <a:lnTo>
                    <a:pt x="3667" y="482"/>
                  </a:lnTo>
                  <a:lnTo>
                    <a:pt x="3520" y="380"/>
                  </a:lnTo>
                  <a:lnTo>
                    <a:pt x="3366" y="289"/>
                  </a:lnTo>
                  <a:lnTo>
                    <a:pt x="3206" y="209"/>
                  </a:lnTo>
                  <a:lnTo>
                    <a:pt x="3040" y="142"/>
                  </a:lnTo>
                  <a:lnTo>
                    <a:pt x="2867" y="87"/>
                  </a:lnTo>
                  <a:lnTo>
                    <a:pt x="2691" y="45"/>
                  </a:lnTo>
                  <a:lnTo>
                    <a:pt x="2510" y="16"/>
                  </a:lnTo>
                  <a:lnTo>
                    <a:pt x="2325" y="2"/>
                  </a:lnTo>
                  <a:lnTo>
                    <a:pt x="2231" y="0"/>
                  </a:lnTo>
                  <a:close/>
                </a:path>
              </a:pathLst>
            </a:custGeom>
            <a:solidFill>
              <a:srgbClr val="D9D9D9"/>
            </a:solidFill>
            <a:ln w="190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Background Green [0]" hidden="1">
              <a:extLst>
                <a:ext uri="{FF2B5EF4-FFF2-40B4-BE49-F238E27FC236}">
                  <a16:creationId xmlns:a16="http://schemas.microsoft.com/office/drawing/2014/main" id="{1336C286-15DF-4948-93EF-78F07C305845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939925" y="2949574"/>
              <a:ext cx="785812" cy="771526"/>
            </a:xfrm>
            <a:custGeom>
              <a:avLst/>
              <a:gdLst>
                <a:gd name="T0" fmla="*/ 1265 w 1977"/>
                <a:gd name="T1" fmla="*/ 0 h 1945"/>
                <a:gd name="T2" fmla="*/ 1156 w 1977"/>
                <a:gd name="T3" fmla="*/ 52 h 1945"/>
                <a:gd name="T4" fmla="*/ 949 w 1977"/>
                <a:gd name="T5" fmla="*/ 170 h 1945"/>
                <a:gd name="T6" fmla="*/ 755 w 1977"/>
                <a:gd name="T7" fmla="*/ 308 h 1945"/>
                <a:gd name="T8" fmla="*/ 576 w 1977"/>
                <a:gd name="T9" fmla="*/ 464 h 1945"/>
                <a:gd name="T10" fmla="*/ 415 w 1977"/>
                <a:gd name="T11" fmla="*/ 638 h 1945"/>
                <a:gd name="T12" fmla="*/ 271 w 1977"/>
                <a:gd name="T13" fmla="*/ 827 h 1945"/>
                <a:gd name="T14" fmla="*/ 146 w 1977"/>
                <a:gd name="T15" fmla="*/ 1030 h 1945"/>
                <a:gd name="T16" fmla="*/ 43 w 1977"/>
                <a:gd name="T17" fmla="*/ 1245 h 1945"/>
                <a:gd name="T18" fmla="*/ 0 w 1977"/>
                <a:gd name="T19" fmla="*/ 1357 h 1945"/>
                <a:gd name="T20" fmla="*/ 1615 w 1977"/>
                <a:gd name="T21" fmla="*/ 1945 h 1945"/>
                <a:gd name="T22" fmla="*/ 1629 w 1977"/>
                <a:gd name="T23" fmla="*/ 1915 h 1945"/>
                <a:gd name="T24" fmla="*/ 1661 w 1977"/>
                <a:gd name="T25" fmla="*/ 1860 h 1945"/>
                <a:gd name="T26" fmla="*/ 1717 w 1977"/>
                <a:gd name="T27" fmla="*/ 1782 h 1945"/>
                <a:gd name="T28" fmla="*/ 1810 w 1977"/>
                <a:gd name="T29" fmla="*/ 1694 h 1945"/>
                <a:gd name="T30" fmla="*/ 1890 w 1977"/>
                <a:gd name="T31" fmla="*/ 1641 h 1945"/>
                <a:gd name="T32" fmla="*/ 1948 w 1977"/>
                <a:gd name="T33" fmla="*/ 1611 h 1945"/>
                <a:gd name="T34" fmla="*/ 1977 w 1977"/>
                <a:gd name="T35" fmla="*/ 1599 h 1945"/>
                <a:gd name="T36" fmla="*/ 1265 w 1977"/>
                <a:gd name="T37" fmla="*/ 0 h 1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77" h="1945">
                  <a:moveTo>
                    <a:pt x="1265" y="0"/>
                  </a:moveTo>
                  <a:lnTo>
                    <a:pt x="1156" y="52"/>
                  </a:lnTo>
                  <a:lnTo>
                    <a:pt x="949" y="170"/>
                  </a:lnTo>
                  <a:lnTo>
                    <a:pt x="755" y="308"/>
                  </a:lnTo>
                  <a:lnTo>
                    <a:pt x="576" y="464"/>
                  </a:lnTo>
                  <a:lnTo>
                    <a:pt x="415" y="638"/>
                  </a:lnTo>
                  <a:lnTo>
                    <a:pt x="271" y="827"/>
                  </a:lnTo>
                  <a:lnTo>
                    <a:pt x="146" y="1030"/>
                  </a:lnTo>
                  <a:lnTo>
                    <a:pt x="43" y="1245"/>
                  </a:lnTo>
                  <a:lnTo>
                    <a:pt x="0" y="1357"/>
                  </a:lnTo>
                  <a:lnTo>
                    <a:pt x="1615" y="1945"/>
                  </a:lnTo>
                  <a:lnTo>
                    <a:pt x="1629" y="1915"/>
                  </a:lnTo>
                  <a:lnTo>
                    <a:pt x="1661" y="1860"/>
                  </a:lnTo>
                  <a:lnTo>
                    <a:pt x="1717" y="1782"/>
                  </a:lnTo>
                  <a:lnTo>
                    <a:pt x="1810" y="1694"/>
                  </a:lnTo>
                  <a:lnTo>
                    <a:pt x="1890" y="1641"/>
                  </a:lnTo>
                  <a:lnTo>
                    <a:pt x="1948" y="1611"/>
                  </a:lnTo>
                  <a:lnTo>
                    <a:pt x="1977" y="1599"/>
                  </a:lnTo>
                  <a:lnTo>
                    <a:pt x="1265" y="0"/>
                  </a:lnTo>
                  <a:close/>
                </a:path>
              </a:pathLst>
            </a:custGeom>
            <a:solidFill>
              <a:schemeClr val="bg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Background Yellow [1]" hidden="1">
              <a:extLst>
                <a:ext uri="{FF2B5EF4-FFF2-40B4-BE49-F238E27FC236}">
                  <a16:creationId xmlns:a16="http://schemas.microsoft.com/office/drawing/2014/main" id="{FC0C0B17-7610-4493-BE08-3F8F7FD1E695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43163" y="2867025"/>
              <a:ext cx="752475" cy="717550"/>
            </a:xfrm>
            <a:custGeom>
              <a:avLst/>
              <a:gdLst>
                <a:gd name="T0" fmla="*/ 922 w 1895"/>
                <a:gd name="T1" fmla="*/ 2 h 1809"/>
                <a:gd name="T2" fmla="*/ 802 w 1895"/>
                <a:gd name="T3" fmla="*/ 5 h 1809"/>
                <a:gd name="T4" fmla="*/ 567 w 1895"/>
                <a:gd name="T5" fmla="*/ 34 h 1809"/>
                <a:gd name="T6" fmla="*/ 335 w 1895"/>
                <a:gd name="T7" fmla="*/ 85 h 1809"/>
                <a:gd name="T8" fmla="*/ 110 w 1895"/>
                <a:gd name="T9" fmla="*/ 159 h 1809"/>
                <a:gd name="T10" fmla="*/ 0 w 1895"/>
                <a:gd name="T11" fmla="*/ 206 h 1809"/>
                <a:gd name="T12" fmla="*/ 712 w 1895"/>
                <a:gd name="T13" fmla="*/ 1805 h 1809"/>
                <a:gd name="T14" fmla="*/ 772 w 1895"/>
                <a:gd name="T15" fmla="*/ 1784 h 1809"/>
                <a:gd name="T16" fmla="*/ 894 w 1895"/>
                <a:gd name="T17" fmla="*/ 1761 h 1809"/>
                <a:gd name="T18" fmla="*/ 956 w 1895"/>
                <a:gd name="T19" fmla="*/ 1758 h 1809"/>
                <a:gd name="T20" fmla="*/ 988 w 1895"/>
                <a:gd name="T21" fmla="*/ 1759 h 1809"/>
                <a:gd name="T22" fmla="*/ 1053 w 1895"/>
                <a:gd name="T23" fmla="*/ 1765 h 1809"/>
                <a:gd name="T24" fmla="*/ 1115 w 1895"/>
                <a:gd name="T25" fmla="*/ 1778 h 1809"/>
                <a:gd name="T26" fmla="*/ 1178 w 1895"/>
                <a:gd name="T27" fmla="*/ 1796 h 1809"/>
                <a:gd name="T28" fmla="*/ 1208 w 1895"/>
                <a:gd name="T29" fmla="*/ 1809 h 1809"/>
                <a:gd name="T30" fmla="*/ 1895 w 1895"/>
                <a:gd name="T31" fmla="*/ 190 h 1809"/>
                <a:gd name="T32" fmla="*/ 1838 w 1895"/>
                <a:gd name="T33" fmla="*/ 166 h 1809"/>
                <a:gd name="T34" fmla="*/ 1720 w 1895"/>
                <a:gd name="T35" fmla="*/ 124 h 1809"/>
                <a:gd name="T36" fmla="*/ 1601 w 1895"/>
                <a:gd name="T37" fmla="*/ 87 h 1809"/>
                <a:gd name="T38" fmla="*/ 1480 w 1895"/>
                <a:gd name="T39" fmla="*/ 57 h 1809"/>
                <a:gd name="T40" fmla="*/ 1357 w 1895"/>
                <a:gd name="T41" fmla="*/ 33 h 1809"/>
                <a:gd name="T42" fmla="*/ 1234 w 1895"/>
                <a:gd name="T43" fmla="*/ 15 h 1809"/>
                <a:gd name="T44" fmla="*/ 1109 w 1895"/>
                <a:gd name="T45" fmla="*/ 5 h 1809"/>
                <a:gd name="T46" fmla="*/ 985 w 1895"/>
                <a:gd name="T47" fmla="*/ 0 h 1809"/>
                <a:gd name="T48" fmla="*/ 922 w 1895"/>
                <a:gd name="T49" fmla="*/ 2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95" h="1809">
                  <a:moveTo>
                    <a:pt x="922" y="2"/>
                  </a:moveTo>
                  <a:lnTo>
                    <a:pt x="802" y="5"/>
                  </a:lnTo>
                  <a:lnTo>
                    <a:pt x="567" y="34"/>
                  </a:lnTo>
                  <a:lnTo>
                    <a:pt x="335" y="85"/>
                  </a:lnTo>
                  <a:lnTo>
                    <a:pt x="110" y="159"/>
                  </a:lnTo>
                  <a:lnTo>
                    <a:pt x="0" y="206"/>
                  </a:lnTo>
                  <a:lnTo>
                    <a:pt x="712" y="1805"/>
                  </a:lnTo>
                  <a:lnTo>
                    <a:pt x="772" y="1784"/>
                  </a:lnTo>
                  <a:lnTo>
                    <a:pt x="894" y="1761"/>
                  </a:lnTo>
                  <a:lnTo>
                    <a:pt x="956" y="1758"/>
                  </a:lnTo>
                  <a:lnTo>
                    <a:pt x="988" y="1759"/>
                  </a:lnTo>
                  <a:lnTo>
                    <a:pt x="1053" y="1765"/>
                  </a:lnTo>
                  <a:lnTo>
                    <a:pt x="1115" y="1778"/>
                  </a:lnTo>
                  <a:lnTo>
                    <a:pt x="1178" y="1796"/>
                  </a:lnTo>
                  <a:lnTo>
                    <a:pt x="1208" y="1809"/>
                  </a:lnTo>
                  <a:lnTo>
                    <a:pt x="1895" y="190"/>
                  </a:lnTo>
                  <a:lnTo>
                    <a:pt x="1838" y="166"/>
                  </a:lnTo>
                  <a:lnTo>
                    <a:pt x="1720" y="124"/>
                  </a:lnTo>
                  <a:lnTo>
                    <a:pt x="1601" y="87"/>
                  </a:lnTo>
                  <a:lnTo>
                    <a:pt x="1480" y="57"/>
                  </a:lnTo>
                  <a:lnTo>
                    <a:pt x="1357" y="33"/>
                  </a:lnTo>
                  <a:lnTo>
                    <a:pt x="1234" y="15"/>
                  </a:lnTo>
                  <a:lnTo>
                    <a:pt x="1109" y="5"/>
                  </a:lnTo>
                  <a:lnTo>
                    <a:pt x="985" y="0"/>
                  </a:lnTo>
                  <a:lnTo>
                    <a:pt x="922" y="2"/>
                  </a:lnTo>
                  <a:close/>
                </a:path>
              </a:pathLst>
            </a:custGeom>
            <a:solidFill>
              <a:schemeClr val="bg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Background Red [2]" hidden="1">
              <a:extLst>
                <a:ext uri="{FF2B5EF4-FFF2-40B4-BE49-F238E27FC236}">
                  <a16:creationId xmlns:a16="http://schemas.microsoft.com/office/drawing/2014/main" id="{7D1B27C4-3884-4D47-A88C-BA19D1309080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922588" y="2943225"/>
              <a:ext cx="790575" cy="781050"/>
            </a:xfrm>
            <a:custGeom>
              <a:avLst/>
              <a:gdLst>
                <a:gd name="T0" fmla="*/ 687 w 1991"/>
                <a:gd name="T1" fmla="*/ 0 h 1968"/>
                <a:gd name="T2" fmla="*/ 0 w 1991"/>
                <a:gd name="T3" fmla="*/ 1619 h 1968"/>
                <a:gd name="T4" fmla="*/ 29 w 1991"/>
                <a:gd name="T5" fmla="*/ 1631 h 1968"/>
                <a:gd name="T6" fmla="*/ 86 w 1991"/>
                <a:gd name="T7" fmla="*/ 1662 h 1968"/>
                <a:gd name="T8" fmla="*/ 166 w 1991"/>
                <a:gd name="T9" fmla="*/ 1715 h 1968"/>
                <a:gd name="T10" fmla="*/ 256 w 1991"/>
                <a:gd name="T11" fmla="*/ 1805 h 1968"/>
                <a:gd name="T12" fmla="*/ 313 w 1991"/>
                <a:gd name="T13" fmla="*/ 1882 h 1968"/>
                <a:gd name="T14" fmla="*/ 344 w 1991"/>
                <a:gd name="T15" fmla="*/ 1939 h 1968"/>
                <a:gd name="T16" fmla="*/ 357 w 1991"/>
                <a:gd name="T17" fmla="*/ 1968 h 1968"/>
                <a:gd name="T18" fmla="*/ 1991 w 1991"/>
                <a:gd name="T19" fmla="*/ 1373 h 1968"/>
                <a:gd name="T20" fmla="*/ 1970 w 1991"/>
                <a:gd name="T21" fmla="*/ 1316 h 1968"/>
                <a:gd name="T22" fmla="*/ 1922 w 1991"/>
                <a:gd name="T23" fmla="*/ 1202 h 1968"/>
                <a:gd name="T24" fmla="*/ 1868 w 1991"/>
                <a:gd name="T25" fmla="*/ 1093 h 1968"/>
                <a:gd name="T26" fmla="*/ 1809 w 1991"/>
                <a:gd name="T27" fmla="*/ 985 h 1968"/>
                <a:gd name="T28" fmla="*/ 1745 w 1991"/>
                <a:gd name="T29" fmla="*/ 883 h 1968"/>
                <a:gd name="T30" fmla="*/ 1676 w 1991"/>
                <a:gd name="T31" fmla="*/ 783 h 1968"/>
                <a:gd name="T32" fmla="*/ 1564 w 1991"/>
                <a:gd name="T33" fmla="*/ 641 h 1968"/>
                <a:gd name="T34" fmla="*/ 1397 w 1991"/>
                <a:gd name="T35" fmla="*/ 464 h 1968"/>
                <a:gd name="T36" fmla="*/ 1260 w 1991"/>
                <a:gd name="T37" fmla="*/ 345 h 1968"/>
                <a:gd name="T38" fmla="*/ 1164 w 1991"/>
                <a:gd name="T39" fmla="*/ 271 h 1968"/>
                <a:gd name="T40" fmla="*/ 1064 w 1991"/>
                <a:gd name="T41" fmla="*/ 202 h 1968"/>
                <a:gd name="T42" fmla="*/ 961 w 1991"/>
                <a:gd name="T43" fmla="*/ 137 h 1968"/>
                <a:gd name="T44" fmla="*/ 854 w 1991"/>
                <a:gd name="T45" fmla="*/ 78 h 1968"/>
                <a:gd name="T46" fmla="*/ 744 w 1991"/>
                <a:gd name="T47" fmla="*/ 25 h 1968"/>
                <a:gd name="T48" fmla="*/ 687 w 1991"/>
                <a:gd name="T49" fmla="*/ 0 h 1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91" h="1968">
                  <a:moveTo>
                    <a:pt x="687" y="0"/>
                  </a:moveTo>
                  <a:lnTo>
                    <a:pt x="0" y="1619"/>
                  </a:lnTo>
                  <a:lnTo>
                    <a:pt x="29" y="1631"/>
                  </a:lnTo>
                  <a:lnTo>
                    <a:pt x="86" y="1662"/>
                  </a:lnTo>
                  <a:lnTo>
                    <a:pt x="166" y="1715"/>
                  </a:lnTo>
                  <a:lnTo>
                    <a:pt x="256" y="1805"/>
                  </a:lnTo>
                  <a:lnTo>
                    <a:pt x="313" y="1882"/>
                  </a:lnTo>
                  <a:lnTo>
                    <a:pt x="344" y="1939"/>
                  </a:lnTo>
                  <a:lnTo>
                    <a:pt x="357" y="1968"/>
                  </a:lnTo>
                  <a:lnTo>
                    <a:pt x="1991" y="1373"/>
                  </a:lnTo>
                  <a:lnTo>
                    <a:pt x="1970" y="1316"/>
                  </a:lnTo>
                  <a:lnTo>
                    <a:pt x="1922" y="1202"/>
                  </a:lnTo>
                  <a:lnTo>
                    <a:pt x="1868" y="1093"/>
                  </a:lnTo>
                  <a:lnTo>
                    <a:pt x="1809" y="985"/>
                  </a:lnTo>
                  <a:lnTo>
                    <a:pt x="1745" y="883"/>
                  </a:lnTo>
                  <a:lnTo>
                    <a:pt x="1676" y="783"/>
                  </a:lnTo>
                  <a:lnTo>
                    <a:pt x="1564" y="641"/>
                  </a:lnTo>
                  <a:lnTo>
                    <a:pt x="1397" y="464"/>
                  </a:lnTo>
                  <a:lnTo>
                    <a:pt x="1260" y="345"/>
                  </a:lnTo>
                  <a:lnTo>
                    <a:pt x="1164" y="271"/>
                  </a:lnTo>
                  <a:lnTo>
                    <a:pt x="1064" y="202"/>
                  </a:lnTo>
                  <a:lnTo>
                    <a:pt x="961" y="137"/>
                  </a:lnTo>
                  <a:lnTo>
                    <a:pt x="854" y="78"/>
                  </a:lnTo>
                  <a:lnTo>
                    <a:pt x="744" y="25"/>
                  </a:lnTo>
                  <a:lnTo>
                    <a:pt x="687" y="0"/>
                  </a:lnTo>
                  <a:close/>
                </a:path>
              </a:pathLst>
            </a:custGeom>
            <a:solidFill>
              <a:schemeClr val="bg2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Needle Red [2]" hidden="1">
              <a:extLst>
                <a:ext uri="{FF2B5EF4-FFF2-40B4-BE49-F238E27FC236}">
                  <a16:creationId xmlns:a16="http://schemas.microsoft.com/office/drawing/2014/main" id="{12EBA38B-C800-4137-B34C-B26AD047B8DC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986088" y="3262313"/>
              <a:ext cx="401638" cy="385763"/>
            </a:xfrm>
            <a:custGeom>
              <a:avLst/>
              <a:gdLst>
                <a:gd name="T0" fmla="*/ 1013 w 1013"/>
                <a:gd name="T1" fmla="*/ 0 h 975"/>
                <a:gd name="T2" fmla="*/ 553 w 1013"/>
                <a:gd name="T3" fmla="*/ 115 h 975"/>
                <a:gd name="T4" fmla="*/ 684 w 1013"/>
                <a:gd name="T5" fmla="*/ 250 h 975"/>
                <a:gd name="T6" fmla="*/ 0 w 1013"/>
                <a:gd name="T7" fmla="*/ 909 h 975"/>
                <a:gd name="T8" fmla="*/ 37 w 1013"/>
                <a:gd name="T9" fmla="*/ 940 h 975"/>
                <a:gd name="T10" fmla="*/ 71 w 1013"/>
                <a:gd name="T11" fmla="*/ 975 h 975"/>
                <a:gd name="T12" fmla="*/ 750 w 1013"/>
                <a:gd name="T13" fmla="*/ 318 h 975"/>
                <a:gd name="T14" fmla="*/ 882 w 1013"/>
                <a:gd name="T15" fmla="*/ 455 h 975"/>
                <a:gd name="T16" fmla="*/ 1013 w 1013"/>
                <a:gd name="T17" fmla="*/ 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3" h="975">
                  <a:moveTo>
                    <a:pt x="1013" y="0"/>
                  </a:moveTo>
                  <a:lnTo>
                    <a:pt x="553" y="115"/>
                  </a:lnTo>
                  <a:lnTo>
                    <a:pt x="684" y="250"/>
                  </a:lnTo>
                  <a:lnTo>
                    <a:pt x="0" y="909"/>
                  </a:lnTo>
                  <a:lnTo>
                    <a:pt x="37" y="940"/>
                  </a:lnTo>
                  <a:lnTo>
                    <a:pt x="71" y="975"/>
                  </a:lnTo>
                  <a:lnTo>
                    <a:pt x="750" y="318"/>
                  </a:lnTo>
                  <a:lnTo>
                    <a:pt x="882" y="455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Needle Yellow [1]" hidden="1">
              <a:extLst>
                <a:ext uri="{FF2B5EF4-FFF2-40B4-BE49-F238E27FC236}">
                  <a16:creationId xmlns:a16="http://schemas.microsoft.com/office/drawing/2014/main" id="{706ABB9C-845C-4991-ADF3-DCEDE672DAC5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732088" y="3036888"/>
              <a:ext cx="188913" cy="530225"/>
            </a:xfrm>
            <a:custGeom>
              <a:avLst/>
              <a:gdLst>
                <a:gd name="T0" fmla="*/ 236 w 474"/>
                <a:gd name="T1" fmla="*/ 0 h 1336"/>
                <a:gd name="T2" fmla="*/ 0 w 474"/>
                <a:gd name="T3" fmla="*/ 410 h 1336"/>
                <a:gd name="T4" fmla="*/ 188 w 474"/>
                <a:gd name="T5" fmla="*/ 410 h 1336"/>
                <a:gd name="T6" fmla="*/ 188 w 474"/>
                <a:gd name="T7" fmla="*/ 1334 h 1336"/>
                <a:gd name="T8" fmla="*/ 207 w 474"/>
                <a:gd name="T9" fmla="*/ 1334 h 1336"/>
                <a:gd name="T10" fmla="*/ 226 w 474"/>
                <a:gd name="T11" fmla="*/ 1332 h 1336"/>
                <a:gd name="T12" fmla="*/ 255 w 474"/>
                <a:gd name="T13" fmla="*/ 1334 h 1336"/>
                <a:gd name="T14" fmla="*/ 283 w 474"/>
                <a:gd name="T15" fmla="*/ 1336 h 1336"/>
                <a:gd name="T16" fmla="*/ 283 w 474"/>
                <a:gd name="T17" fmla="*/ 410 h 1336"/>
                <a:gd name="T18" fmla="*/ 474 w 474"/>
                <a:gd name="T19" fmla="*/ 410 h 1336"/>
                <a:gd name="T20" fmla="*/ 236 w 474"/>
                <a:gd name="T21" fmla="*/ 0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4" h="1336">
                  <a:moveTo>
                    <a:pt x="236" y="0"/>
                  </a:moveTo>
                  <a:lnTo>
                    <a:pt x="0" y="410"/>
                  </a:lnTo>
                  <a:lnTo>
                    <a:pt x="188" y="410"/>
                  </a:lnTo>
                  <a:lnTo>
                    <a:pt x="188" y="1334"/>
                  </a:lnTo>
                  <a:lnTo>
                    <a:pt x="207" y="1334"/>
                  </a:lnTo>
                  <a:lnTo>
                    <a:pt x="226" y="1332"/>
                  </a:lnTo>
                  <a:lnTo>
                    <a:pt x="255" y="1334"/>
                  </a:lnTo>
                  <a:lnTo>
                    <a:pt x="283" y="1336"/>
                  </a:lnTo>
                  <a:lnTo>
                    <a:pt x="283" y="410"/>
                  </a:lnTo>
                  <a:lnTo>
                    <a:pt x="474" y="410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Needle Green [0]" hidden="1">
              <a:extLst>
                <a:ext uri="{FF2B5EF4-FFF2-40B4-BE49-F238E27FC236}">
                  <a16:creationId xmlns:a16="http://schemas.microsoft.com/office/drawing/2014/main" id="{0B0D4E26-22CA-490D-A5D6-181E688D63D9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257425" y="3260725"/>
              <a:ext cx="400050" cy="387350"/>
            </a:xfrm>
            <a:custGeom>
              <a:avLst/>
              <a:gdLst>
                <a:gd name="T0" fmla="*/ 0 w 1010"/>
                <a:gd name="T1" fmla="*/ 0 h 977"/>
                <a:gd name="T2" fmla="*/ 131 w 1010"/>
                <a:gd name="T3" fmla="*/ 456 h 977"/>
                <a:gd name="T4" fmla="*/ 261 w 1010"/>
                <a:gd name="T5" fmla="*/ 320 h 977"/>
                <a:gd name="T6" fmla="*/ 941 w 1010"/>
                <a:gd name="T7" fmla="*/ 977 h 977"/>
                <a:gd name="T8" fmla="*/ 975 w 1010"/>
                <a:gd name="T9" fmla="*/ 942 h 977"/>
                <a:gd name="T10" fmla="*/ 1010 w 1010"/>
                <a:gd name="T11" fmla="*/ 911 h 977"/>
                <a:gd name="T12" fmla="*/ 328 w 1010"/>
                <a:gd name="T13" fmla="*/ 252 h 977"/>
                <a:gd name="T14" fmla="*/ 460 w 1010"/>
                <a:gd name="T15" fmla="*/ 116 h 977"/>
                <a:gd name="T16" fmla="*/ 0 w 1010"/>
                <a:gd name="T17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0" h="977">
                  <a:moveTo>
                    <a:pt x="0" y="0"/>
                  </a:moveTo>
                  <a:lnTo>
                    <a:pt x="131" y="456"/>
                  </a:lnTo>
                  <a:lnTo>
                    <a:pt x="261" y="320"/>
                  </a:lnTo>
                  <a:lnTo>
                    <a:pt x="941" y="977"/>
                  </a:lnTo>
                  <a:lnTo>
                    <a:pt x="975" y="942"/>
                  </a:lnTo>
                  <a:lnTo>
                    <a:pt x="1010" y="911"/>
                  </a:lnTo>
                  <a:lnTo>
                    <a:pt x="328" y="252"/>
                  </a:lnTo>
                  <a:lnTo>
                    <a:pt x="46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30" name="Stars 3 levels" hidden="1">
            <a:extLst>
              <a:ext uri="{FF2B5EF4-FFF2-40B4-BE49-F238E27FC236}">
                <a16:creationId xmlns:a16="http://schemas.microsoft.com/office/drawing/2014/main" id="{AA66D45F-A979-4C21-9B36-ADBC92DB464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>
          <a:xfrm>
            <a:off x="9271000" y="0"/>
            <a:ext cx="774698" cy="147366"/>
            <a:chOff x="2162679" y="4077072"/>
            <a:chExt cx="774698" cy="147366"/>
          </a:xfrm>
        </p:grpSpPr>
        <p:sp>
          <p:nvSpPr>
            <p:cNvPr id="31" name="5-Point Star 138 [0]" hidden="1">
              <a:extLst>
                <a:ext uri="{FF2B5EF4-FFF2-40B4-BE49-F238E27FC236}">
                  <a16:creationId xmlns:a16="http://schemas.microsoft.com/office/drawing/2014/main" id="{220800AA-66D2-4BC7-A580-3EE4651B8E8F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2185445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2" name="5-Point Star 140 [0]" hidden="1">
              <a:extLst>
                <a:ext uri="{FF2B5EF4-FFF2-40B4-BE49-F238E27FC236}">
                  <a16:creationId xmlns:a16="http://schemas.microsoft.com/office/drawing/2014/main" id="{5B16C717-82C0-4653-8F9A-9292071709E2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2450595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3" name="5-Point Star 141 [0]" hidden="1">
              <a:extLst>
                <a:ext uri="{FF2B5EF4-FFF2-40B4-BE49-F238E27FC236}">
                  <a16:creationId xmlns:a16="http://schemas.microsoft.com/office/drawing/2014/main" id="{A76E1434-E3C7-4A2E-BBF2-01F554F3061B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2757261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4" name="5-Point Star 142 [1]" hidden="1">
              <a:extLst>
                <a:ext uri="{FF2B5EF4-FFF2-40B4-BE49-F238E27FC236}">
                  <a16:creationId xmlns:a16="http://schemas.microsoft.com/office/drawing/2014/main" id="{7754371F-B768-4111-8FC7-CB61B220E9B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2780028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5" name="5-Point Star 143 [1]" hidden="1">
              <a:extLst>
                <a:ext uri="{FF2B5EF4-FFF2-40B4-BE49-F238E27FC236}">
                  <a16:creationId xmlns:a16="http://schemas.microsoft.com/office/drawing/2014/main" id="{C690667F-3A86-425A-ACC2-A58B9621212D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2473361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6" name="5-Point Star 144 [1]" hidden="1">
              <a:extLst>
                <a:ext uri="{FF2B5EF4-FFF2-40B4-BE49-F238E27FC236}">
                  <a16:creationId xmlns:a16="http://schemas.microsoft.com/office/drawing/2014/main" id="{D61E58B8-60F0-4DA7-B860-C6D42298888A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162679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7" name="5-Point Star 145 [2]" hidden="1">
              <a:extLst>
                <a:ext uri="{FF2B5EF4-FFF2-40B4-BE49-F238E27FC236}">
                  <a16:creationId xmlns:a16="http://schemas.microsoft.com/office/drawing/2014/main" id="{72D09555-592C-4195-9DCF-B50539A05AA5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2182137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8" name="5-Point Star 146 [2]" hidden="1">
              <a:extLst>
                <a:ext uri="{FF2B5EF4-FFF2-40B4-BE49-F238E27FC236}">
                  <a16:creationId xmlns:a16="http://schemas.microsoft.com/office/drawing/2014/main" id="{EEA86C4A-56D1-4E8B-8457-90302B6274B7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2483719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39" name="5-Point Star 147 [2]" hidden="1">
              <a:extLst>
                <a:ext uri="{FF2B5EF4-FFF2-40B4-BE49-F238E27FC236}">
                  <a16:creationId xmlns:a16="http://schemas.microsoft.com/office/drawing/2014/main" id="{9D55870F-A947-43C2-88F3-739E832954AB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2760570" y="4077072"/>
              <a:ext cx="157349" cy="147366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40" name="5-Point Star 148 [3]" hidden="1">
              <a:extLst>
                <a:ext uri="{FF2B5EF4-FFF2-40B4-BE49-F238E27FC236}">
                  <a16:creationId xmlns:a16="http://schemas.microsoft.com/office/drawing/2014/main" id="{021B5EA0-83E8-4328-94E7-19F6B1525F97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2182137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41" name="5-Point Star 149 [3]" hidden="1">
              <a:extLst>
                <a:ext uri="{FF2B5EF4-FFF2-40B4-BE49-F238E27FC236}">
                  <a16:creationId xmlns:a16="http://schemas.microsoft.com/office/drawing/2014/main" id="{AF1A226C-C327-48E6-B2C3-F77BDEA53912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2483719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42" name="5-Point Star 150 [3]" hidden="1">
              <a:extLst>
                <a:ext uri="{FF2B5EF4-FFF2-40B4-BE49-F238E27FC236}">
                  <a16:creationId xmlns:a16="http://schemas.microsoft.com/office/drawing/2014/main" id="{5CE5E302-9777-4BE7-9821-B454D1C48B6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2760570" y="4077072"/>
              <a:ext cx="157349" cy="147366"/>
            </a:xfrm>
            <a:prstGeom prst="star5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</p:grpSp>
      <p:grpSp>
        <p:nvGrpSpPr>
          <p:cNvPr id="43" name="Stars 5 levels" hidden="1">
            <a:extLst>
              <a:ext uri="{FF2B5EF4-FFF2-40B4-BE49-F238E27FC236}">
                <a16:creationId xmlns:a16="http://schemas.microsoft.com/office/drawing/2014/main" id="{12130DE5-8C93-4A07-8094-A643C98AF849}"/>
              </a:ext>
            </a:extLst>
          </p:cNvPr>
          <p:cNvGrpSpPr>
            <a:grpSpLocks noChangeAspect="1"/>
          </p:cNvGrpSpPr>
          <p:nvPr userDrawn="1">
            <p:custDataLst>
              <p:tags r:id="rId5"/>
            </p:custDataLst>
          </p:nvPr>
        </p:nvGrpSpPr>
        <p:grpSpPr>
          <a:xfrm>
            <a:off x="9271002" y="2"/>
            <a:ext cx="858745" cy="147367"/>
            <a:chOff x="4135869" y="5636233"/>
            <a:chExt cx="858745" cy="147367"/>
          </a:xfrm>
        </p:grpSpPr>
        <p:sp>
          <p:nvSpPr>
            <p:cNvPr id="44" name="0/5 [0+]" hidden="1">
              <a:extLst>
                <a:ext uri="{FF2B5EF4-FFF2-40B4-BE49-F238E27FC236}">
                  <a16:creationId xmlns:a16="http://schemas.microsoft.com/office/drawing/2014/main" id="{ACAB5331-ADE2-44CA-8B92-FB469797816D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 flipH="1">
              <a:off x="4135869" y="5636234"/>
              <a:ext cx="157349" cy="147366"/>
            </a:xfrm>
            <a:prstGeom prst="star5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5" name="1/5 [1+]" hidden="1">
              <a:extLst>
                <a:ext uri="{FF2B5EF4-FFF2-40B4-BE49-F238E27FC236}">
                  <a16:creationId xmlns:a16="http://schemas.microsoft.com/office/drawing/2014/main" id="{0C2F2922-ABFE-4DBB-9826-A8A067019D0B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 flipH="1">
              <a:off x="4135869" y="5636233"/>
              <a:ext cx="157349" cy="147366"/>
            </a:xfrm>
            <a:prstGeom prst="star5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6" name="0/5 [0+]" hidden="1">
              <a:extLst>
                <a:ext uri="{FF2B5EF4-FFF2-40B4-BE49-F238E27FC236}">
                  <a16:creationId xmlns:a16="http://schemas.microsoft.com/office/drawing/2014/main" id="{A33A197A-1058-47B8-9275-5AB5F0DEE2B1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 flipH="1">
              <a:off x="4311218" y="5636233"/>
              <a:ext cx="157349" cy="147366"/>
            </a:xfrm>
            <a:prstGeom prst="star5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7" name="2/5 [2+]" hidden="1">
              <a:extLst>
                <a:ext uri="{FF2B5EF4-FFF2-40B4-BE49-F238E27FC236}">
                  <a16:creationId xmlns:a16="http://schemas.microsoft.com/office/drawing/2014/main" id="{2FCDE996-3893-4DAD-9530-F7F9FA84A8EE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 flipH="1">
              <a:off x="4311218" y="5636233"/>
              <a:ext cx="157349" cy="147366"/>
            </a:xfrm>
            <a:prstGeom prst="star5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8" name="0/5 [0+]" hidden="1">
              <a:extLst>
                <a:ext uri="{FF2B5EF4-FFF2-40B4-BE49-F238E27FC236}">
                  <a16:creationId xmlns:a16="http://schemas.microsoft.com/office/drawing/2014/main" id="{096E2D4D-9989-47B4-AED0-9A478C9958B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 flipH="1">
              <a:off x="4486567" y="5636233"/>
              <a:ext cx="157349" cy="147366"/>
            </a:xfrm>
            <a:prstGeom prst="star5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9" name="3/5 [3+]" hidden="1">
              <a:extLst>
                <a:ext uri="{FF2B5EF4-FFF2-40B4-BE49-F238E27FC236}">
                  <a16:creationId xmlns:a16="http://schemas.microsoft.com/office/drawing/2014/main" id="{4E0871EC-DAA8-4AA5-B866-894EE2DFB896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 flipH="1">
              <a:off x="4486567" y="5636233"/>
              <a:ext cx="157349" cy="147366"/>
            </a:xfrm>
            <a:prstGeom prst="star5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0/5 [0+]" hidden="1">
              <a:extLst>
                <a:ext uri="{FF2B5EF4-FFF2-40B4-BE49-F238E27FC236}">
                  <a16:creationId xmlns:a16="http://schemas.microsoft.com/office/drawing/2014/main" id="{B1EA3072-F121-437D-8E40-E2486B20D5C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 flipH="1">
              <a:off x="4661916" y="5636233"/>
              <a:ext cx="157349" cy="147366"/>
            </a:xfrm>
            <a:prstGeom prst="star5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1" name="4/5 [4+]" hidden="1">
              <a:extLst>
                <a:ext uri="{FF2B5EF4-FFF2-40B4-BE49-F238E27FC236}">
                  <a16:creationId xmlns:a16="http://schemas.microsoft.com/office/drawing/2014/main" id="{E8924C07-13A4-4D7E-ABD1-08508313A9B3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 flipH="1">
              <a:off x="4661916" y="5636233"/>
              <a:ext cx="157349" cy="147366"/>
            </a:xfrm>
            <a:prstGeom prst="star5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2" name="0/5 [0+]" hidden="1">
              <a:extLst>
                <a:ext uri="{FF2B5EF4-FFF2-40B4-BE49-F238E27FC236}">
                  <a16:creationId xmlns:a16="http://schemas.microsoft.com/office/drawing/2014/main" id="{14497C92-19F9-49C0-8A9C-361115B3677B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 flipH="1">
              <a:off x="4837265" y="5636233"/>
              <a:ext cx="157349" cy="147366"/>
            </a:xfrm>
            <a:prstGeom prst="star5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3" name="5/5 [5+]" hidden="1">
              <a:extLst>
                <a:ext uri="{FF2B5EF4-FFF2-40B4-BE49-F238E27FC236}">
                  <a16:creationId xmlns:a16="http://schemas.microsoft.com/office/drawing/2014/main" id="{F12180BB-1A95-40DC-9F29-91356919335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 flipH="1">
              <a:off x="4837265" y="5636233"/>
              <a:ext cx="157349" cy="147366"/>
            </a:xfrm>
            <a:prstGeom prst="star5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54" name="Star" hidden="1">
            <a:extLst>
              <a:ext uri="{FF2B5EF4-FFF2-40B4-BE49-F238E27FC236}">
                <a16:creationId xmlns:a16="http://schemas.microsoft.com/office/drawing/2014/main" id="{07D4061D-0B8A-43E3-96F6-6ED49FDC4AF7}"/>
              </a:ext>
            </a:extLst>
          </p:cNvPr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>
          <a:xfrm>
            <a:off x="9271000" y="0"/>
            <a:ext cx="330068" cy="324000"/>
            <a:chOff x="5750986" y="1526415"/>
            <a:chExt cx="330068" cy="324000"/>
          </a:xfrm>
        </p:grpSpPr>
        <p:sp>
          <p:nvSpPr>
            <p:cNvPr id="55" name="Folded Corner 34 [0]" hidden="1">
              <a:extLst>
                <a:ext uri="{FF2B5EF4-FFF2-40B4-BE49-F238E27FC236}">
                  <a16:creationId xmlns:a16="http://schemas.microsoft.com/office/drawing/2014/main" id="{24E5177E-0803-47E7-A7D3-780CF7694364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5808020" y="1526415"/>
              <a:ext cx="216000" cy="324000"/>
            </a:xfrm>
            <a:prstGeom prst="foldedCorner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56" name="Isosceles Triangle 173 [1]" hidden="1">
              <a:extLst>
                <a:ext uri="{FF2B5EF4-FFF2-40B4-BE49-F238E27FC236}">
                  <a16:creationId xmlns:a16="http://schemas.microsoft.com/office/drawing/2014/main" id="{66A9A424-BA3E-46FE-89B2-599BBBFE79EA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5851220" y="1555215"/>
              <a:ext cx="129600" cy="2664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57" name="5-Point Star 174 [2]" hidden="1">
              <a:extLst>
                <a:ext uri="{FF2B5EF4-FFF2-40B4-BE49-F238E27FC236}">
                  <a16:creationId xmlns:a16="http://schemas.microsoft.com/office/drawing/2014/main" id="{4CEBC694-18F8-47AB-A991-CC71F46C72A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72091" y="1558318"/>
              <a:ext cx="287857" cy="260194"/>
            </a:xfrm>
            <a:prstGeom prst="star5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58" name="Diamond 175 [3]" hidden="1">
              <a:extLst>
                <a:ext uri="{FF2B5EF4-FFF2-40B4-BE49-F238E27FC236}">
                  <a16:creationId xmlns:a16="http://schemas.microsoft.com/office/drawing/2014/main" id="{35F3233D-DA6B-4808-AE53-D83126E1C0C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72020" y="1558815"/>
              <a:ext cx="288000" cy="259200"/>
            </a:xfrm>
            <a:prstGeom prst="diamond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59" name="Flowchart: Off-page Connector 176 [4]" hidden="1">
              <a:extLst>
                <a:ext uri="{FF2B5EF4-FFF2-40B4-BE49-F238E27FC236}">
                  <a16:creationId xmlns:a16="http://schemas.microsoft.com/office/drawing/2014/main" id="{8F79F760-5DEA-44F4-8493-7FD90011FAB2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821700" y="1526415"/>
              <a:ext cx="188639" cy="324000"/>
            </a:xfrm>
            <a:prstGeom prst="flowChartOffpageConnector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  <p:sp>
          <p:nvSpPr>
            <p:cNvPr id="60" name="Cercle [4] [5]" hidden="1">
              <a:extLst>
                <a:ext uri="{FF2B5EF4-FFF2-40B4-BE49-F238E27FC236}">
                  <a16:creationId xmlns:a16="http://schemas.microsoft.com/office/drawing/2014/main" id="{B6F6F7F1-3BBD-4F30-A8C3-099C88ED47E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750986" y="1531167"/>
              <a:ext cx="330068" cy="314495"/>
            </a:xfrm>
            <a:prstGeom prst="donu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800">
                <a:solidFill>
                  <a:schemeClr val="bg2"/>
                </a:solidFill>
                <a:ea typeface="+mj-ea"/>
                <a:cs typeface="+mj-cs"/>
              </a:endParaRPr>
            </a:p>
          </p:txBody>
        </p:sp>
      </p:grpSp>
      <p:sp>
        <p:nvSpPr>
          <p:cNvPr id="7" name="Workspace [Presentation]" hidden="1">
            <a:extLst>
              <a:ext uri="{FF2B5EF4-FFF2-40B4-BE49-F238E27FC236}">
                <a16:creationId xmlns:a16="http://schemas.microsoft.com/office/drawing/2014/main" id="{9C09039B-08FA-44ED-9557-9BD4E0080E7B}"/>
              </a:ext>
            </a:extLst>
          </p:cNvPr>
          <p:cNvSpPr/>
          <p:nvPr userDrawn="1"/>
        </p:nvSpPr>
        <p:spPr>
          <a:xfrm>
            <a:off x="1080007" y="975600"/>
            <a:ext cx="7780043" cy="3263504"/>
          </a:xfrm>
          <a:prstGeom prst="rect">
            <a:avLst/>
          </a:prstGeom>
          <a:noFill/>
          <a:ln w="12700" cap="flat" cmpd="sng" algn="ctr">
            <a:solidFill>
              <a:srgbClr val="D24726"/>
            </a:solidFill>
            <a:prstDash val="lg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C02493E-25B3-703F-4DBB-40522BCC306B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05" y="1"/>
            <a:ext cx="1172596" cy="453956"/>
          </a:xfrm>
          <a:prstGeom prst="rect">
            <a:avLst/>
          </a:prstGeom>
        </p:spPr>
      </p:pic>
      <p:sp>
        <p:nvSpPr>
          <p:cNvPr id="13" name="Oval 13">
            <a:extLst>
              <a:ext uri="{FF2B5EF4-FFF2-40B4-BE49-F238E27FC236}">
                <a16:creationId xmlns:a16="http://schemas.microsoft.com/office/drawing/2014/main" id="{78EC1F2F-E268-0B70-9CD4-AA360A8C11C9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147795" y="4889126"/>
            <a:ext cx="205585" cy="13850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E08334B-91D7-46DA-837A-2A85F7B647E5}" type="slidenum">
              <a:rPr lang="fr-FR" sz="900">
                <a:solidFill>
                  <a:schemeClr val="accent1"/>
                </a:solidFill>
              </a:rPr>
              <a:pPr algn="r">
                <a:defRPr/>
              </a:pPr>
              <a:t>‹N°›</a:t>
            </a:fld>
            <a:endParaRPr lang="fr-FR" sz="900">
              <a:solidFill>
                <a:schemeClr val="accent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52349908-24A8-C21B-9227-C2162947657F}"/>
              </a:ext>
            </a:extLst>
          </p:cNvPr>
          <p:cNvSpPr/>
          <p:nvPr userDrawn="1"/>
        </p:nvSpPr>
        <p:spPr>
          <a:xfrm>
            <a:off x="434625" y="4922372"/>
            <a:ext cx="72008" cy="72008"/>
          </a:xfrm>
          <a:prstGeom prst="ellipse">
            <a:avLst/>
          </a:prstGeom>
          <a:solidFill>
            <a:srgbClr val="B243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C41701F9-1E72-E382-24DF-D8C3D5C17C2A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578640" y="4889126"/>
            <a:ext cx="291556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fr-FR" sz="900" cap="all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CHE D’ELIGIBILITE – CEGC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E30CDC6-EB96-8663-1FA2-E13CF37DDE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040" y="4857327"/>
            <a:ext cx="1211316" cy="20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7123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7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15990" indent="-215990" algn="l" defTabSz="685749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 3" panose="05040102010807070707" pitchFamily="18" charset="2"/>
        <a:buChar char="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33988" indent="-233988" algn="l" defTabSz="685749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"/>
        <a:defRPr sz="1300" b="0" kern="1200" cap="none" baseline="0">
          <a:solidFill>
            <a:schemeClr val="tx1"/>
          </a:solidFill>
          <a:latin typeface="+mn-lt"/>
          <a:ea typeface="+mn-ea"/>
          <a:cs typeface="+mn-cs"/>
        </a:defRPr>
      </a:lvl3pPr>
      <a:lvl4pPr marL="449978" indent="-179992" algn="l" defTabSz="685749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3" panose="05040102010807070707" pitchFamily="18" charset="2"/>
        <a:buChar char="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593970" indent="-129594" algn="l" defTabSz="685749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83157" indent="-129591" algn="l" defTabSz="685749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2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3">
          <p15:clr>
            <a:srgbClr val="F26B43"/>
          </p15:clr>
        </p15:guide>
        <p15:guide id="2" pos="678">
          <p15:clr>
            <a:srgbClr val="F26B43"/>
          </p15:clr>
        </p15:guide>
        <p15:guide id="3" pos="5585">
          <p15:clr>
            <a:srgbClr val="F26B43"/>
          </p15:clr>
        </p15:guide>
        <p15:guide id="6" orient="horz" pos="204">
          <p15:clr>
            <a:srgbClr val="F26B43"/>
          </p15:clr>
        </p15:guide>
        <p15:guide id="7" pos="1872">
          <p15:clr>
            <a:srgbClr val="F26B43"/>
          </p15:clr>
        </p15:guide>
        <p15:guide id="8" orient="horz" pos="38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12"/>
          <p:cNvSpPr>
            <a:spLocks noGrp="1"/>
          </p:cNvSpPr>
          <p:nvPr>
            <p:ph type="body" idx="1"/>
          </p:nvPr>
        </p:nvSpPr>
        <p:spPr>
          <a:xfrm>
            <a:off x="719573" y="908857"/>
            <a:ext cx="7704856" cy="3640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pic>
        <p:nvPicPr>
          <p:cNvPr id="6" name="Image 5" descr="Une image contenant Police, capture d’écran, noir, Graphique&#10;&#10;Description générée automatiquement">
            <a:extLst>
              <a:ext uri="{FF2B5EF4-FFF2-40B4-BE49-F238E27FC236}">
                <a16:creationId xmlns:a16="http://schemas.microsoft.com/office/drawing/2014/main" id="{FEC4D7F7-31F7-C884-8A9B-CEA821D02F66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35497" y="4876007"/>
            <a:ext cx="644251" cy="259845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1771687-4B57-9000-6F5D-DA55909C7FC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3">
            <a:extLst>
              <a:ext uri="{FF2B5EF4-FFF2-40B4-BE49-F238E27FC236}">
                <a16:creationId xmlns:a16="http://schemas.microsoft.com/office/drawing/2014/main" id="{7681A8D5-4C9A-C347-196F-876530703240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8820472" y="4959763"/>
            <a:ext cx="189155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spAutoFit/>
          </a:bodyPr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E08334B-91D7-46DA-837A-2A85F7B647E5}" type="slidenum"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algn="r">
                <a:defRPr/>
              </a:pPr>
              <a:t>‹N°›</a:t>
            </a:fld>
            <a:endParaRPr lang="fr-FR" sz="600" b="0" i="0" u="none" strike="noStrike" kern="1200" cap="none" spc="100" baseline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B0B35ACB-1F6E-094E-5632-32C9451D616D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683567" y="4959763"/>
            <a:ext cx="2900074" cy="923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OPEN SOURCE – Présentation CODIR IT</a:t>
            </a:r>
          </a:p>
        </p:txBody>
      </p:sp>
      <p:sp>
        <p:nvSpPr>
          <p:cNvPr id="18" name="Espace réservé de la date 3">
            <a:extLst>
              <a:ext uri="{FF2B5EF4-FFF2-40B4-BE49-F238E27FC236}">
                <a16:creationId xmlns:a16="http://schemas.microsoft.com/office/drawing/2014/main" id="{238685BB-5C32-9037-D5E7-394C90D67823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4220257" y="4959763"/>
            <a:ext cx="708527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20 février 2026</a:t>
            </a:r>
          </a:p>
        </p:txBody>
      </p:sp>
    </p:spTree>
    <p:extLst>
      <p:ext uri="{BB962C8B-B14F-4D97-AF65-F5344CB8AC3E}">
        <p14:creationId xmlns:p14="http://schemas.microsoft.com/office/powerpoint/2010/main" val="1216667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4258" r:id="rId24"/>
    <p:sldLayoutId id="2147485626" r:id="rId25"/>
    <p:sldLayoutId id="2147485630" r:id="rId26"/>
  </p:sldLayoutIdLst>
  <p:hf hdr="0"/>
  <p:txStyles>
    <p:titleStyle>
      <a:lvl1pPr algn="ctr" defTabSz="914378" rtl="0" eaLnBrk="1" latinLnBrk="0" hangingPunct="1">
        <a:lnSpc>
          <a:spcPct val="90000"/>
        </a:lnSpc>
        <a:spcBef>
          <a:spcPct val="0"/>
        </a:spcBef>
        <a:buNone/>
        <a:defRPr sz="2000" b="1" i="0" kern="1200" cap="all" baseline="0">
          <a:solidFill>
            <a:schemeClr val="tx1"/>
          </a:solidFill>
          <a:latin typeface="Montserrat ExtraBold" pitchFamily="2" charset="77"/>
          <a:ea typeface="+mj-ea"/>
          <a:cs typeface="Arial" panose="020B0604020202020204" pitchFamily="34" charset="0"/>
        </a:defRPr>
      </a:lvl1pPr>
    </p:titleStyle>
    <p:bodyStyle>
      <a:lvl1pPr marL="0" indent="0" algn="l" defTabSz="914378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Cambria Math" panose="02040503050406030204" pitchFamily="18" charset="0"/>
        <a:buNone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971" indent="-174621" algn="l" defTabSz="914378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57179" indent="-176209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79424" indent="-222245" algn="l" defTabSz="914378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itre 9"/>
          <p:cNvSpPr>
            <a:spLocks noGrp="1"/>
          </p:cNvSpPr>
          <p:nvPr>
            <p:ph type="title"/>
          </p:nvPr>
        </p:nvSpPr>
        <p:spPr>
          <a:xfrm>
            <a:off x="719951" y="195486"/>
            <a:ext cx="7704098" cy="432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idx="1"/>
          </p:nvPr>
        </p:nvSpPr>
        <p:spPr>
          <a:xfrm>
            <a:off x="719572" y="908857"/>
            <a:ext cx="7704856" cy="3640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1771687-4B57-9000-6F5D-DA55909C7FC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3">
            <a:extLst>
              <a:ext uri="{FF2B5EF4-FFF2-40B4-BE49-F238E27FC236}">
                <a16:creationId xmlns:a16="http://schemas.microsoft.com/office/drawing/2014/main" id="{7681A8D5-4C9A-C347-196F-876530703240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8820472" y="4959762"/>
            <a:ext cx="189154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spAutoFit/>
          </a:bodyPr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E08334B-91D7-46DA-837A-2A85F7B647E5}" type="slidenum"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algn="r">
                <a:defRPr/>
              </a:pPr>
              <a:t>‹N°›</a:t>
            </a:fld>
            <a:endParaRPr lang="fr-FR" sz="600" b="0" i="0" u="none" strike="noStrike" kern="1200" cap="none" spc="100" baseline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Espace réservé de la date 3">
            <a:extLst>
              <a:ext uri="{FF2B5EF4-FFF2-40B4-BE49-F238E27FC236}">
                <a16:creationId xmlns:a16="http://schemas.microsoft.com/office/drawing/2014/main" id="{238685BB-5C32-9037-D5E7-394C90D67823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4467111" y="4959762"/>
            <a:ext cx="214803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at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F79AA275-DA7C-9CE1-3940-109A295B80F4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251520" y="4959761"/>
            <a:ext cx="1098058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itre de la présentation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25ACC0E-77F7-A23E-45B7-691734DD55DB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0352" y="4931151"/>
            <a:ext cx="900000" cy="147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34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69" r:id="rId2"/>
    <p:sldLayoutId id="2147484270" r:id="rId3"/>
    <p:sldLayoutId id="2147484261" r:id="rId4"/>
    <p:sldLayoutId id="2147484264" r:id="rId5"/>
    <p:sldLayoutId id="2147484273" r:id="rId6"/>
    <p:sldLayoutId id="2147484266" r:id="rId7"/>
    <p:sldLayoutId id="2147484268" r:id="rId8"/>
    <p:sldLayoutId id="2147484267" r:id="rId9"/>
    <p:sldLayoutId id="2147484263" r:id="rId10"/>
    <p:sldLayoutId id="2147483777" r:id="rId11"/>
    <p:sldLayoutId id="2147484265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</p:sldLayoutIdLst>
  <p:hf hd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cap="all" baseline="0">
          <a:solidFill>
            <a:schemeClr val="tx1"/>
          </a:solidFill>
          <a:latin typeface="Montserrat ExtraBold" pitchFamily="2" charset="77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Cambria Math" panose="02040503050406030204" pitchFamily="18" charset="0"/>
        <a:buNone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975" indent="-17462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57188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79438" indent="-2222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61">
          <p15:clr>
            <a:srgbClr val="F26B43"/>
          </p15:clr>
        </p15:guide>
        <p15:guide id="4" orient="horz" pos="30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itre 9"/>
          <p:cNvSpPr>
            <a:spLocks noGrp="1"/>
          </p:cNvSpPr>
          <p:nvPr>
            <p:ph type="title"/>
          </p:nvPr>
        </p:nvSpPr>
        <p:spPr>
          <a:xfrm>
            <a:off x="719951" y="195486"/>
            <a:ext cx="7704098" cy="432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idx="1"/>
          </p:nvPr>
        </p:nvSpPr>
        <p:spPr>
          <a:xfrm>
            <a:off x="719572" y="908857"/>
            <a:ext cx="7704856" cy="3640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pic>
        <p:nvPicPr>
          <p:cNvPr id="6" name="Image 5" descr="Une image contenant Police, capture d’écran, noir, Graphique&#10;&#10;Description générée automatiquement">
            <a:extLst>
              <a:ext uri="{FF2B5EF4-FFF2-40B4-BE49-F238E27FC236}">
                <a16:creationId xmlns:a16="http://schemas.microsoft.com/office/drawing/2014/main" id="{FEC4D7F7-31F7-C884-8A9B-CEA821D02F66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5496" y="4876006"/>
            <a:ext cx="644251" cy="259845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1771687-4B57-9000-6F5D-DA55909C7FC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883355"/>
            <a:ext cx="914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3">
            <a:extLst>
              <a:ext uri="{FF2B5EF4-FFF2-40B4-BE49-F238E27FC236}">
                <a16:creationId xmlns:a16="http://schemas.microsoft.com/office/drawing/2014/main" id="{7681A8D5-4C9A-C347-196F-876530703240}"/>
              </a:ext>
            </a:extLst>
          </p:cNvPr>
          <p:cNvSpPr txBox="1">
            <a:spLocks noChangeAspect="1" noChangeArrowheads="1"/>
          </p:cNvSpPr>
          <p:nvPr userDrawn="1"/>
        </p:nvSpPr>
        <p:spPr bwMode="auto">
          <a:xfrm>
            <a:off x="8820472" y="4959762"/>
            <a:ext cx="189154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spAutoFit/>
          </a:bodyPr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E08334B-91D7-46DA-837A-2A85F7B647E5}" type="slidenum"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algn="r">
                <a:defRPr/>
              </a:pPr>
              <a:t>‹N°›</a:t>
            </a:fld>
            <a:endParaRPr lang="fr-FR" sz="600" b="0" i="0" u="none" strike="noStrike" kern="1200" cap="none" spc="100" baseline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B0B35ACB-1F6E-094E-5632-32C9451D616D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683568" y="4959762"/>
            <a:ext cx="1452321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PIL DATA &amp; AI For Business</a:t>
            </a:r>
          </a:p>
        </p:txBody>
      </p:sp>
      <p:sp>
        <p:nvSpPr>
          <p:cNvPr id="18" name="Espace réservé de la date 3">
            <a:extLst>
              <a:ext uri="{FF2B5EF4-FFF2-40B4-BE49-F238E27FC236}">
                <a16:creationId xmlns:a16="http://schemas.microsoft.com/office/drawing/2014/main" id="{238685BB-5C32-9037-D5E7-394C90D67823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4297190" y="4959762"/>
            <a:ext cx="554640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fr-FR" sz="600" b="0" i="0" u="none" strike="noStrike" kern="1200" cap="none" spc="1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3 avril 2026</a:t>
            </a:r>
          </a:p>
        </p:txBody>
      </p:sp>
    </p:spTree>
    <p:extLst>
      <p:ext uri="{BB962C8B-B14F-4D97-AF65-F5344CB8AC3E}">
        <p14:creationId xmlns:p14="http://schemas.microsoft.com/office/powerpoint/2010/main" val="145025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1" r:id="rId2"/>
    <p:sldLayoutId id="2147483760" r:id="rId3"/>
    <p:sldLayoutId id="2147483743" r:id="rId4"/>
    <p:sldLayoutId id="2147483745" r:id="rId5"/>
    <p:sldLayoutId id="2147483766" r:id="rId6"/>
    <p:sldLayoutId id="2147483770" r:id="rId7"/>
    <p:sldLayoutId id="2147483765" r:id="rId8"/>
    <p:sldLayoutId id="2147483776" r:id="rId9"/>
    <p:sldLayoutId id="2147483771" r:id="rId10"/>
    <p:sldLayoutId id="2147483778" r:id="rId11"/>
    <p:sldLayoutId id="2147483773" r:id="rId12"/>
    <p:sldLayoutId id="2147483775" r:id="rId13"/>
    <p:sldLayoutId id="2147483774" r:id="rId14"/>
    <p:sldLayoutId id="2147483768" r:id="rId15"/>
    <p:sldLayoutId id="2147483769" r:id="rId16"/>
    <p:sldLayoutId id="2147483763" r:id="rId17"/>
    <p:sldLayoutId id="2147485625" r:id="rId18"/>
    <p:sldLayoutId id="2147483772" r:id="rId19"/>
    <p:sldLayoutId id="2147483767" r:id="rId20"/>
    <p:sldLayoutId id="2147483738" r:id="rId21"/>
    <p:sldLayoutId id="2147483834" r:id="rId22"/>
    <p:sldLayoutId id="2147483838" r:id="rId23"/>
    <p:sldLayoutId id="2147484086" r:id="rId24"/>
    <p:sldLayoutId id="2147483918" r:id="rId25"/>
    <p:sldLayoutId id="2147484045" r:id="rId26"/>
    <p:sldLayoutId id="2147484038" r:id="rId27"/>
    <p:sldLayoutId id="2147484250" r:id="rId28"/>
    <p:sldLayoutId id="2147484251" r:id="rId29"/>
    <p:sldLayoutId id="2147484252" r:id="rId30"/>
    <p:sldLayoutId id="2147485631" r:id="rId31"/>
  </p:sldLayoutIdLst>
  <p:hf hd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cap="all" baseline="0">
          <a:solidFill>
            <a:schemeClr val="tx1"/>
          </a:solidFill>
          <a:latin typeface="Montserrat ExtraBold" pitchFamily="2" charset="77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Cambria Math" panose="02040503050406030204" pitchFamily="18" charset="0"/>
        <a:buNone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975" indent="-17462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57188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79438" indent="-2222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Police, capture d’écran, noir, Graphique&#10;&#10;Description générée automatiquement">
            <a:extLst>
              <a:ext uri="{FF2B5EF4-FFF2-40B4-BE49-F238E27FC236}">
                <a16:creationId xmlns:a16="http://schemas.microsoft.com/office/drawing/2014/main" id="{718EE73C-94C3-9312-E1CC-2662F54017FE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5496" y="4876006"/>
            <a:ext cx="644251" cy="259845"/>
          </a:xfrm>
          <a:prstGeom prst="rect">
            <a:avLst/>
          </a:prstGeom>
        </p:spPr>
      </p:pic>
      <p:sp>
        <p:nvSpPr>
          <p:cNvPr id="7" name="Espace réservé du titre 9"/>
          <p:cNvSpPr>
            <a:spLocks noGrp="1"/>
          </p:cNvSpPr>
          <p:nvPr>
            <p:ph type="title"/>
          </p:nvPr>
        </p:nvSpPr>
        <p:spPr>
          <a:xfrm>
            <a:off x="900385" y="195486"/>
            <a:ext cx="7704098" cy="432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idx="1"/>
          </p:nvPr>
        </p:nvSpPr>
        <p:spPr>
          <a:xfrm>
            <a:off x="899592" y="1131590"/>
            <a:ext cx="7704856" cy="3640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4" name="Oval 13"/>
          <p:cNvSpPr txBox="1">
            <a:spLocks noChangeAspect="1" noChangeArrowheads="1"/>
          </p:cNvSpPr>
          <p:nvPr userDrawn="1"/>
        </p:nvSpPr>
        <p:spPr bwMode="auto">
          <a:xfrm>
            <a:off x="8839200" y="4936678"/>
            <a:ext cx="206787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spAutoFit/>
          </a:bodyPr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E08334B-91D7-46DA-837A-2A85F7B647E5}" type="slidenum">
              <a:rPr lang="fr-FR">
                <a:solidFill>
                  <a:schemeClr val="tx1"/>
                </a:solidFill>
              </a:rPr>
              <a:pPr algn="r">
                <a:defRPr/>
              </a:pPr>
              <a:t>‹N°›</a:t>
            </a:fld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25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5616" r:id="rId3"/>
    <p:sldLayoutId id="2147483744" r:id="rId4"/>
    <p:sldLayoutId id="2147485618" r:id="rId5"/>
    <p:sldLayoutId id="2147483746" r:id="rId6"/>
    <p:sldLayoutId id="2147483747" r:id="rId7"/>
    <p:sldLayoutId id="2147483748" r:id="rId8"/>
    <p:sldLayoutId id="2147485622" r:id="rId9"/>
    <p:sldLayoutId id="2147483749" r:id="rId10"/>
    <p:sldLayoutId id="2147483750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 Black" panose="020B0A04020102020204" pitchFamily="34" charset="0"/>
          <a:ea typeface="+mj-ea"/>
          <a:cs typeface="Arial" panose="020B0604020202020204" pitchFamily="34" charset="0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Cambria Math" panose="02040503050406030204" pitchFamily="18" charset="0"/>
        <a:buChar char="ʘ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8.xml"/><Relationship Id="rId1" Type="http://schemas.openxmlformats.org/officeDocument/2006/relationships/tags" Target="../tags/tag48.x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06.xml"/><Relationship Id="rId11" Type="http://schemas.openxmlformats.org/officeDocument/2006/relationships/image" Target="../media/image28.emf"/><Relationship Id="rId5" Type="http://schemas.openxmlformats.org/officeDocument/2006/relationships/tags" Target="../tags/tag4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46.xml"/><Relationship Id="rId9" Type="http://schemas.openxmlformats.org/officeDocument/2006/relationships/image" Target="../media/image3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9.svg"/><Relationship Id="rId5" Type="http://schemas.openxmlformats.org/officeDocument/2006/relationships/image" Target="../media/image38.svg"/><Relationship Id="rId4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Espace réservé pour une image  22">
            <a:extLst>
              <a:ext uri="{FF2B5EF4-FFF2-40B4-BE49-F238E27FC236}">
                <a16:creationId xmlns:a16="http://schemas.microsoft.com/office/drawing/2014/main" id="{66020A23-CCAC-CE4E-1D0E-33564B2E7FA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46" r="6446"/>
          <a:stretch/>
        </p:blipFill>
        <p:spPr/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Presentation sub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393B625-1B89-C7E5-EA81-50940736AF7A}"/>
              </a:ext>
            </a:extLst>
          </p:cNvPr>
          <p:cNvSpPr/>
          <p:nvPr/>
        </p:nvSpPr>
        <p:spPr>
          <a:xfrm>
            <a:off x="408749" y="1158239"/>
            <a:ext cx="6547463" cy="3136053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DF0AB7-46EC-1FAE-D0A8-FC48B887848E}"/>
              </a:ext>
            </a:extLst>
          </p:cNvPr>
          <p:cNvSpPr/>
          <p:nvPr/>
        </p:nvSpPr>
        <p:spPr>
          <a:xfrm>
            <a:off x="743777" y="1300102"/>
            <a:ext cx="5980321" cy="2563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FR" sz="3600" b="1" cap="all" dirty="0">
                <a:solidFill>
                  <a:srgbClr val="000000"/>
                </a:solidFill>
                <a:latin typeface="Montserrat ExtraBold" pitchFamily="2" charset="77"/>
                <a:sym typeface="Cabin Condensed"/>
              </a:rPr>
              <a:t>OPEN SOURCE </a:t>
            </a:r>
            <a:r>
              <a:rPr lang="fr-FR" sz="3600" b="1" cap="all" dirty="0" err="1">
                <a:solidFill>
                  <a:srgbClr val="000000"/>
                </a:solidFill>
                <a:latin typeface="Montserrat ExtraBold" pitchFamily="2" charset="77"/>
                <a:sym typeface="Cabin Condensed"/>
              </a:rPr>
              <a:t>Strategy</a:t>
            </a:r>
            <a:r>
              <a:rPr lang="fr-FR" sz="3600" b="1" cap="all" dirty="0">
                <a:solidFill>
                  <a:srgbClr val="000000"/>
                </a:solidFill>
                <a:latin typeface="Montserrat ExtraBold" pitchFamily="2" charset="77"/>
                <a:sym typeface="Cabin Condensed"/>
              </a:rPr>
              <a:t> multi </a:t>
            </a:r>
            <a:r>
              <a:rPr lang="fr-FR" sz="3600" b="1" cap="all" dirty="0" err="1">
                <a:solidFill>
                  <a:srgbClr val="000000"/>
                </a:solidFill>
                <a:latin typeface="Montserrat ExtraBold" pitchFamily="2" charset="77"/>
                <a:sym typeface="Cabin Condensed"/>
              </a:rPr>
              <a:t>approach</a:t>
            </a:r>
            <a:r>
              <a:rPr lang="fr-FR" sz="3600" b="1" cap="all" dirty="0">
                <a:solidFill>
                  <a:srgbClr val="000000"/>
                </a:solidFill>
                <a:latin typeface="Montserrat ExtraBold" pitchFamily="2" charset="77"/>
                <a:sym typeface="Cabin Condensed"/>
              </a:rPr>
              <a:t> </a:t>
            </a:r>
          </a:p>
          <a:p>
            <a:pPr marL="198755" lvl="2" defTabSz="914355">
              <a:lnSpc>
                <a:spcPct val="90000"/>
              </a:lnSpc>
              <a:spcBef>
                <a:spcPts val="1000"/>
              </a:spcBef>
              <a:buClr>
                <a:srgbClr val="B34A8C"/>
              </a:buClr>
              <a:defRPr/>
            </a:pPr>
            <a:r>
              <a:rPr lang="fr-FR" b="1" dirty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rPr>
              <a:t>BPCE </a:t>
            </a:r>
          </a:p>
          <a:p>
            <a:pPr marL="198755" lvl="2" defTabSz="914355">
              <a:lnSpc>
                <a:spcPct val="90000"/>
              </a:lnSpc>
              <a:spcBef>
                <a:spcPts val="1000"/>
              </a:spcBef>
              <a:buClr>
                <a:srgbClr val="B34A8C"/>
              </a:buClr>
              <a:defRPr/>
            </a:pPr>
            <a:r>
              <a:rPr lang="fr-FR" sz="1100" b="1" dirty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rPr>
              <a:t>OW2Con</a:t>
            </a:r>
          </a:p>
          <a:p>
            <a:pPr marL="198755" lvl="2" defTabSz="914355">
              <a:lnSpc>
                <a:spcPct val="90000"/>
              </a:lnSpc>
              <a:spcBef>
                <a:spcPts val="1000"/>
              </a:spcBef>
              <a:buClr>
                <a:srgbClr val="B34A8C"/>
              </a:buClr>
              <a:defRPr/>
            </a:pPr>
            <a:r>
              <a:rPr lang="fr-FR" sz="1100" dirty="0">
                <a:solidFill>
                  <a:srgbClr val="000000"/>
                </a:solidFill>
                <a:latin typeface="Montserrat"/>
                <a:cs typeface="Arial"/>
              </a:rPr>
              <a:t>03/06/2026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634C2253-AD09-2111-450B-817179F57B1E}"/>
              </a:ext>
            </a:extLst>
          </p:cNvPr>
          <p:cNvCxnSpPr>
            <a:cxnSpLocks/>
          </p:cNvCxnSpPr>
          <p:nvPr/>
        </p:nvCxnSpPr>
        <p:spPr>
          <a:xfrm>
            <a:off x="576263" y="1893774"/>
            <a:ext cx="0" cy="18168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835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EBF9973-75A2-2F0C-2E68-86269A208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fr-FR">
                <a:latin typeface="Montserrat ExtraBold"/>
                <a:cs typeface="Arial"/>
              </a:rPr>
              <a:t>OPEN SOURCE WITHIN THE BPCE GROUP 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E05758A-4A03-4A4E-13EE-6F51FE3344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/>
          </a:bodyPr>
          <a:lstStyle/>
          <a:p>
            <a:r>
              <a:rPr lang="fr-FR"/>
              <a:t>Three pillars aimed at </a:t>
            </a:r>
            <a:r>
              <a:rPr lang="en-US"/>
              <a:t>strengthen technological autonomy, security and competitiveness </a:t>
            </a:r>
            <a:endParaRPr lang="fr-FR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B77B3DEA-AEDF-34BE-715E-C8F48C9EC6B9}"/>
              </a:ext>
            </a:extLst>
          </p:cNvPr>
          <p:cNvSpPr/>
          <p:nvPr/>
        </p:nvSpPr>
        <p:spPr>
          <a:xfrm>
            <a:off x="3261360" y="1228754"/>
            <a:ext cx="2596896" cy="2596896"/>
          </a:xfrm>
          <a:prstGeom prst="ellipse">
            <a:avLst/>
          </a:prstGeom>
          <a:noFill/>
          <a:ln w="76200" cap="flat" cmpd="sng" algn="ctr">
            <a:solidFill>
              <a:srgbClr val="2A0F54"/>
            </a:solidFill>
            <a:prstDash val="solid"/>
            <a:miter lim="800000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301B68-D346-6176-B7A0-A27BC327FF4D}"/>
              </a:ext>
            </a:extLst>
          </p:cNvPr>
          <p:cNvSpPr>
            <a:spLocks/>
          </p:cNvSpPr>
          <p:nvPr/>
        </p:nvSpPr>
        <p:spPr>
          <a:xfrm>
            <a:off x="-4" y="4043693"/>
            <a:ext cx="9144004" cy="853239"/>
          </a:xfrm>
          <a:prstGeom prst="rect">
            <a:avLst/>
          </a:prstGeom>
          <a:gradFill flip="none" rotWithShape="1">
            <a:gsLst>
              <a:gs pos="0">
                <a:srgbClr val="1A0046"/>
              </a:gs>
              <a:gs pos="100000">
                <a:srgbClr val="581D74">
                  <a:alpha val="81476"/>
                </a:srgbClr>
              </a:gs>
              <a:gs pos="58000">
                <a:srgbClr val="8A5599">
                  <a:alpha val="69474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30" name="Espace réservé du contenu 8">
            <a:extLst>
              <a:ext uri="{FF2B5EF4-FFF2-40B4-BE49-F238E27FC236}">
                <a16:creationId xmlns:a16="http://schemas.microsoft.com/office/drawing/2014/main" id="{51E00670-057E-7193-385F-5C768EDD779D}"/>
              </a:ext>
            </a:extLst>
          </p:cNvPr>
          <p:cNvSpPr txBox="1">
            <a:spLocks/>
          </p:cNvSpPr>
          <p:nvPr/>
        </p:nvSpPr>
        <p:spPr>
          <a:xfrm>
            <a:off x="230345" y="4379330"/>
            <a:ext cx="2457719" cy="50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B34A8C"/>
              </a:buClr>
              <a:buNone/>
              <a:defRPr/>
            </a:pPr>
            <a:r>
              <a:rPr lang="fr-FR" sz="900">
                <a:solidFill>
                  <a:srgbClr val="FFFFFF"/>
                </a:solidFill>
                <a:latin typeface="Montserrat" pitchFamily="2" charset="77"/>
                <a:ea typeface="Roboto" panose="02000000000000000000" pitchFamily="2" charset="0"/>
                <a:sym typeface="Arial"/>
              </a:rPr>
              <a:t>A deliberate approach encouraging innovation and collective collaboration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F6BAA14D-B798-FCA0-4D56-6A81A856B5A3}"/>
              </a:ext>
            </a:extLst>
          </p:cNvPr>
          <p:cNvSpPr/>
          <p:nvPr/>
        </p:nvSpPr>
        <p:spPr>
          <a:xfrm>
            <a:off x="722376" y="1286666"/>
            <a:ext cx="2596896" cy="2596896"/>
          </a:xfrm>
          <a:prstGeom prst="ellipse">
            <a:avLst/>
          </a:prstGeom>
          <a:solidFill>
            <a:srgbClr val="FFFFFF"/>
          </a:solidFill>
          <a:ln w="76200" cap="flat" cmpd="sng" algn="ctr">
            <a:solidFill>
              <a:srgbClr val="581D74"/>
            </a:solidFill>
            <a:prstDash val="solid"/>
            <a:miter lim="800000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7D8A69D-18BF-DBB2-BBBC-93097B2D8733}"/>
              </a:ext>
            </a:extLst>
          </p:cNvPr>
          <p:cNvSpPr/>
          <p:nvPr/>
        </p:nvSpPr>
        <p:spPr>
          <a:xfrm>
            <a:off x="2761488" y="2229671"/>
            <a:ext cx="950976" cy="566928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34" name="Espace réservé du contenu 8">
            <a:extLst>
              <a:ext uri="{FF2B5EF4-FFF2-40B4-BE49-F238E27FC236}">
                <a16:creationId xmlns:a16="http://schemas.microsoft.com/office/drawing/2014/main" id="{3154B417-1F5D-24B6-75C5-81BCC37F706E}"/>
              </a:ext>
            </a:extLst>
          </p:cNvPr>
          <p:cNvSpPr txBox="1">
            <a:spLocks/>
          </p:cNvSpPr>
          <p:nvPr/>
        </p:nvSpPr>
        <p:spPr>
          <a:xfrm>
            <a:off x="1241807" y="1593410"/>
            <a:ext cx="1626361" cy="33430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B34A8C"/>
              </a:buClr>
              <a:buNone/>
              <a:defRPr/>
            </a:pPr>
            <a:r>
              <a:rPr lang="fr-FR" sz="1200" b="1">
                <a:solidFill>
                  <a:srgbClr val="581D74"/>
                </a:solidFill>
                <a:latin typeface="Montserrat" pitchFamily="2" charset="77"/>
                <a:sym typeface="Arial"/>
              </a:rPr>
              <a:t>A lever for autonomy &amp; sovereignty</a:t>
            </a:r>
            <a:endParaRPr lang="fr-FR" sz="1200">
              <a:solidFill>
                <a:srgbClr val="581D74"/>
              </a:solidFill>
              <a:latin typeface="Montserrat" pitchFamily="2" charset="77"/>
              <a:sym typeface="Arial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36C887CE-8812-505A-2467-F6CC9B9BE027}"/>
              </a:ext>
            </a:extLst>
          </p:cNvPr>
          <p:cNvSpPr/>
          <p:nvPr/>
        </p:nvSpPr>
        <p:spPr>
          <a:xfrm>
            <a:off x="5794248" y="1247042"/>
            <a:ext cx="2596896" cy="2596896"/>
          </a:xfrm>
          <a:prstGeom prst="ellipse">
            <a:avLst/>
          </a:prstGeom>
          <a:solidFill>
            <a:srgbClr val="FFFFFF"/>
          </a:solidFill>
          <a:ln w="76200" cap="flat" cmpd="sng" algn="ctr">
            <a:solidFill>
              <a:srgbClr val="8A5599"/>
            </a:solidFill>
            <a:prstDash val="solid"/>
            <a:miter lim="800000"/>
            <a:tailEnd type="oval" w="sm" len="sm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094F20-B1B0-25F1-6405-ACB286C024EE}"/>
              </a:ext>
            </a:extLst>
          </p:cNvPr>
          <p:cNvSpPr/>
          <p:nvPr/>
        </p:nvSpPr>
        <p:spPr>
          <a:xfrm>
            <a:off x="5436096" y="2229671"/>
            <a:ext cx="950976" cy="566928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39" name="Espace réservé du contenu 8">
            <a:extLst>
              <a:ext uri="{FF2B5EF4-FFF2-40B4-BE49-F238E27FC236}">
                <a16:creationId xmlns:a16="http://schemas.microsoft.com/office/drawing/2014/main" id="{3084CD8A-651D-7E72-6C08-EB45FB0F7CEB}"/>
              </a:ext>
            </a:extLst>
          </p:cNvPr>
          <p:cNvSpPr txBox="1">
            <a:spLocks/>
          </p:cNvSpPr>
          <p:nvPr/>
        </p:nvSpPr>
        <p:spPr>
          <a:xfrm>
            <a:off x="6182624" y="1739856"/>
            <a:ext cx="1820144" cy="2924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B34A8C"/>
              </a:buClr>
              <a:buNone/>
              <a:defRPr/>
            </a:pPr>
            <a:r>
              <a:rPr lang="fr-FR" sz="1200" b="1">
                <a:solidFill>
                  <a:srgbClr val="8A5599"/>
                </a:solidFill>
                <a:latin typeface="Montserrat" pitchFamily="2" charset="77"/>
                <a:sym typeface="Arial"/>
              </a:rPr>
              <a:t>Security, compliance &amp; risk control</a:t>
            </a:r>
            <a:endParaRPr lang="fr-FR" sz="1200">
              <a:solidFill>
                <a:srgbClr val="8A5599"/>
              </a:solidFill>
              <a:latin typeface="Montserrat" pitchFamily="2" charset="77"/>
              <a:sym typeface="Arial"/>
            </a:endParaRPr>
          </a:p>
        </p:txBody>
      </p:sp>
      <p:sp>
        <p:nvSpPr>
          <p:cNvPr id="41" name="Espace réservé du contenu 8">
            <a:extLst>
              <a:ext uri="{FF2B5EF4-FFF2-40B4-BE49-F238E27FC236}">
                <a16:creationId xmlns:a16="http://schemas.microsoft.com/office/drawing/2014/main" id="{FEE0ED4E-9AAF-423C-993D-9F0D957EB461}"/>
              </a:ext>
            </a:extLst>
          </p:cNvPr>
          <p:cNvSpPr txBox="1">
            <a:spLocks/>
          </p:cNvSpPr>
          <p:nvPr/>
        </p:nvSpPr>
        <p:spPr>
          <a:xfrm>
            <a:off x="3536836" y="2408740"/>
            <a:ext cx="1975840" cy="7106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500"/>
              </a:spcBef>
              <a:buClr>
                <a:srgbClr val="B34A8C"/>
              </a:buClr>
              <a:buNone/>
              <a:defRPr/>
            </a:pPr>
            <a:r>
              <a:rPr lang="fr-FR" sz="900">
                <a:solidFill>
                  <a:srgbClr val="581D74"/>
                </a:solidFill>
                <a:latin typeface="Montserrat"/>
                <a:cs typeface="Times New Roman"/>
                <a:sym typeface="Arial"/>
              </a:rPr>
              <a:t>Integration of the</a:t>
            </a:r>
            <a:r>
              <a:rPr lang="fr-FR" sz="900" b="1">
                <a:solidFill>
                  <a:srgbClr val="581D74"/>
                </a:solidFill>
                <a:latin typeface="Montserrat"/>
                <a:cs typeface="Times New Roman"/>
                <a:sym typeface="Arial"/>
              </a:rPr>
              <a:t> principle of assessing Open Source solutions </a:t>
            </a:r>
            <a:r>
              <a:rPr lang="fr-FR" sz="900">
                <a:solidFill>
                  <a:srgbClr val="581D74"/>
                </a:solidFill>
                <a:latin typeface="Montserrat"/>
                <a:cs typeface="Times New Roman"/>
                <a:sym typeface="Arial"/>
              </a:rPr>
              <a:t>into procurement processes  as well as </a:t>
            </a:r>
            <a:r>
              <a:rPr lang="fr-FR" sz="900" b="1">
                <a:solidFill>
                  <a:srgbClr val="581D74"/>
                </a:solidFill>
                <a:latin typeface="Montserrat"/>
                <a:cs typeface="Times New Roman"/>
                <a:sym typeface="Arial"/>
              </a:rPr>
              <a:t>the methods for evaluating legal risk </a:t>
            </a:r>
            <a:r>
              <a:rPr lang="fr-FR" sz="900">
                <a:solidFill>
                  <a:srgbClr val="581D74"/>
                </a:solidFill>
                <a:latin typeface="Montserrat"/>
                <a:cs typeface="Times New Roman"/>
                <a:sym typeface="Arial"/>
              </a:rPr>
              <a:t>of Open Source solutions.</a:t>
            </a:r>
            <a:endParaRPr lang="fr-FR" sz="900">
              <a:solidFill>
                <a:srgbClr val="1A0046"/>
              </a:solidFill>
              <a:latin typeface="Montserrat"/>
              <a:cs typeface="Times New Roman"/>
              <a:sym typeface="Arial"/>
            </a:endParaRPr>
          </a:p>
        </p:txBody>
      </p:sp>
      <p:sp>
        <p:nvSpPr>
          <p:cNvPr id="42" name="Espace réservé du contenu 8">
            <a:extLst>
              <a:ext uri="{FF2B5EF4-FFF2-40B4-BE49-F238E27FC236}">
                <a16:creationId xmlns:a16="http://schemas.microsoft.com/office/drawing/2014/main" id="{A5DDE584-4C0D-0F8F-0480-439C653E0C70}"/>
              </a:ext>
            </a:extLst>
          </p:cNvPr>
          <p:cNvSpPr txBox="1">
            <a:spLocks/>
          </p:cNvSpPr>
          <p:nvPr/>
        </p:nvSpPr>
        <p:spPr>
          <a:xfrm>
            <a:off x="3562864" y="1749800"/>
            <a:ext cx="1975840" cy="3023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B34A8C"/>
              </a:buClr>
              <a:buNone/>
              <a:defRPr/>
            </a:pPr>
            <a:r>
              <a:rPr lang="fr-FR" sz="1200" b="1">
                <a:solidFill>
                  <a:srgbClr val="2A0F54"/>
                </a:solidFill>
                <a:latin typeface="Montserrat" pitchFamily="2" charset="77"/>
                <a:sym typeface="Arial"/>
              </a:rPr>
              <a:t>Alignment with the priorities of the Procurement &amp; Services and Legal Departments</a:t>
            </a:r>
          </a:p>
        </p:txBody>
      </p:sp>
      <p:sp>
        <p:nvSpPr>
          <p:cNvPr id="44" name="Espace réservé du contenu 8">
            <a:extLst>
              <a:ext uri="{FF2B5EF4-FFF2-40B4-BE49-F238E27FC236}">
                <a16:creationId xmlns:a16="http://schemas.microsoft.com/office/drawing/2014/main" id="{93BE4ED2-4D8C-CAB5-11A3-EF5C6E16AA63}"/>
              </a:ext>
            </a:extLst>
          </p:cNvPr>
          <p:cNvSpPr txBox="1">
            <a:spLocks/>
          </p:cNvSpPr>
          <p:nvPr/>
        </p:nvSpPr>
        <p:spPr>
          <a:xfrm>
            <a:off x="6780" y="4050105"/>
            <a:ext cx="9130437" cy="28867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B34A8C"/>
              </a:buClr>
              <a:buNone/>
              <a:defRPr/>
            </a:pPr>
            <a:r>
              <a:rPr lang="fr-FR" sz="900" b="1">
                <a:solidFill>
                  <a:srgbClr val="FFFFFF"/>
                </a:solidFill>
                <a:latin typeface="Montserrat" pitchFamily="2" charset="77"/>
                <a:sym typeface="Arial"/>
              </a:rPr>
              <a:t>A strategic direction that embeds Open Source in a long-term dynamic </a:t>
            </a:r>
            <a:endParaRPr lang="fr-FR" sz="600" b="1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sym typeface="Arial"/>
            </a:endParaRPr>
          </a:p>
        </p:txBody>
      </p:sp>
      <p:sp>
        <p:nvSpPr>
          <p:cNvPr id="45" name="Espace réservé du contenu 8">
            <a:extLst>
              <a:ext uri="{FF2B5EF4-FFF2-40B4-BE49-F238E27FC236}">
                <a16:creationId xmlns:a16="http://schemas.microsoft.com/office/drawing/2014/main" id="{1D15C096-7D80-811C-80B0-04611DC942A1}"/>
              </a:ext>
            </a:extLst>
          </p:cNvPr>
          <p:cNvSpPr txBox="1">
            <a:spLocks/>
          </p:cNvSpPr>
          <p:nvPr/>
        </p:nvSpPr>
        <p:spPr>
          <a:xfrm>
            <a:off x="3224446" y="4379330"/>
            <a:ext cx="2675125" cy="44663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B34A8C"/>
              </a:buClr>
              <a:buNone/>
              <a:defRPr/>
            </a:pPr>
            <a:r>
              <a:rPr lang="fr-FR" sz="900">
                <a:solidFill>
                  <a:srgbClr val="FFFFFF"/>
                </a:solidFill>
                <a:latin typeface="Montserrat" pitchFamily="2" charset="77"/>
                <a:ea typeface="Roboto" panose="02000000000000000000" pitchFamily="2" charset="0"/>
                <a:sym typeface="Arial"/>
              </a:rPr>
              <a:t>A sourcing strategy focused on cost control, resilience and sustainability</a:t>
            </a:r>
          </a:p>
        </p:txBody>
      </p:sp>
      <p:sp>
        <p:nvSpPr>
          <p:cNvPr id="46" name="Espace réservé du contenu 8">
            <a:extLst>
              <a:ext uri="{FF2B5EF4-FFF2-40B4-BE49-F238E27FC236}">
                <a16:creationId xmlns:a16="http://schemas.microsoft.com/office/drawing/2014/main" id="{7B0C38E3-1ED4-5AB3-3CCD-16A9C35A9634}"/>
              </a:ext>
            </a:extLst>
          </p:cNvPr>
          <p:cNvSpPr txBox="1">
            <a:spLocks/>
          </p:cNvSpPr>
          <p:nvPr/>
        </p:nvSpPr>
        <p:spPr>
          <a:xfrm>
            <a:off x="6387072" y="4379330"/>
            <a:ext cx="2526583" cy="43674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B34A8C"/>
              </a:buClr>
              <a:buNone/>
              <a:defRPr/>
            </a:pPr>
            <a:r>
              <a:rPr lang="fr-FR" sz="900">
                <a:solidFill>
                  <a:srgbClr val="FFFFFF"/>
                </a:solidFill>
                <a:latin typeface="Montserrat" pitchFamily="2" charset="77"/>
                <a:ea typeface="Roboto" panose="02000000000000000000" pitchFamily="2" charset="0"/>
                <a:sym typeface="Arial"/>
              </a:rPr>
              <a:t>Attractiveness for talent by offering a stimulating environment</a:t>
            </a: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19075B38-D231-F071-5320-494BAD130A07}"/>
              </a:ext>
            </a:extLst>
          </p:cNvPr>
          <p:cNvCxnSpPr>
            <a:cxnSpLocks/>
          </p:cNvCxnSpPr>
          <p:nvPr/>
        </p:nvCxnSpPr>
        <p:spPr>
          <a:xfrm>
            <a:off x="3008346" y="4312354"/>
            <a:ext cx="0" cy="504000"/>
          </a:xfrm>
          <a:prstGeom prst="line">
            <a:avLst/>
          </a:prstGeom>
          <a:noFill/>
          <a:ln w="3175" cap="flat" cmpd="sng" algn="ctr">
            <a:solidFill>
              <a:srgbClr val="FFFFFF"/>
            </a:solidFill>
            <a:prstDash val="sysDot"/>
            <a:miter lim="800000"/>
          </a:ln>
          <a:effectLst/>
        </p:spPr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66BC4DF8-7F24-345E-BE55-43B03649A507}"/>
              </a:ext>
            </a:extLst>
          </p:cNvPr>
          <p:cNvCxnSpPr>
            <a:cxnSpLocks/>
          </p:cNvCxnSpPr>
          <p:nvPr/>
        </p:nvCxnSpPr>
        <p:spPr>
          <a:xfrm>
            <a:off x="6182624" y="4312354"/>
            <a:ext cx="0" cy="504000"/>
          </a:xfrm>
          <a:prstGeom prst="line">
            <a:avLst/>
          </a:prstGeom>
          <a:noFill/>
          <a:ln w="3175" cap="flat" cmpd="sng" algn="ctr">
            <a:solidFill>
              <a:srgbClr val="FFFFFF"/>
            </a:solidFill>
            <a:prstDash val="sysDot"/>
            <a:miter lim="800000"/>
          </a:ln>
          <a:effectLst/>
        </p:spPr>
      </p:cxnSp>
      <p:sp>
        <p:nvSpPr>
          <p:cNvPr id="5" name="ZoneTexte 4">
            <a:extLst>
              <a:ext uri="{FF2B5EF4-FFF2-40B4-BE49-F238E27FC236}">
                <a16:creationId xmlns:a16="http://schemas.microsoft.com/office/drawing/2014/main" id="{3B89B5F4-B64B-8244-8921-A3881EAFE8C9}"/>
              </a:ext>
            </a:extLst>
          </p:cNvPr>
          <p:cNvSpPr txBox="1"/>
          <p:nvPr/>
        </p:nvSpPr>
        <p:spPr>
          <a:xfrm>
            <a:off x="803642" y="2329093"/>
            <a:ext cx="248918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The Group’s preferred priority is to move toward </a:t>
            </a:r>
            <a:r>
              <a:rPr lang="fr-FR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independence from American software vendors</a:t>
            </a:r>
            <a:r>
              <a:rPr lang="fr-FR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, the exploration of </a:t>
            </a:r>
            <a:r>
              <a:rPr lang="fr-FR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open source alternatives </a:t>
            </a:r>
            <a:r>
              <a:rPr lang="fr-FR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and </a:t>
            </a:r>
            <a:r>
              <a:rPr lang="fr-FR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the management of geopolitical risks </a:t>
            </a:r>
            <a:r>
              <a:rPr lang="fr-FR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related to software dependency.</a:t>
            </a:r>
          </a:p>
        </p:txBody>
      </p:sp>
      <p:sp>
        <p:nvSpPr>
          <p:cNvPr id="6" name="Espace réservé du contenu 8">
            <a:extLst>
              <a:ext uri="{FF2B5EF4-FFF2-40B4-BE49-F238E27FC236}">
                <a16:creationId xmlns:a16="http://schemas.microsoft.com/office/drawing/2014/main" id="{2CC1BEFC-2415-74A1-8402-7F54338C2955}"/>
              </a:ext>
            </a:extLst>
          </p:cNvPr>
          <p:cNvSpPr txBox="1">
            <a:spLocks/>
          </p:cNvSpPr>
          <p:nvPr/>
        </p:nvSpPr>
        <p:spPr>
          <a:xfrm>
            <a:off x="6113800" y="2380465"/>
            <a:ext cx="1975840" cy="7106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Char char="ʘ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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500"/>
              </a:spcBef>
              <a:buClr>
                <a:srgbClr val="B34A8C"/>
              </a:buClr>
              <a:buNone/>
              <a:defRPr/>
            </a:pPr>
            <a:r>
              <a:rPr lang="en-US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Adopting Open Source as a lever to ensure </a:t>
            </a:r>
            <a:r>
              <a:rPr lang="en-US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better control</a:t>
            </a:r>
            <a:r>
              <a:rPr lang="en-US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, </a:t>
            </a:r>
            <a:r>
              <a:rPr lang="en-US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greater auditability </a:t>
            </a:r>
            <a:r>
              <a:rPr lang="en-US" sz="900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and </a:t>
            </a:r>
            <a:r>
              <a:rPr lang="en-US" sz="900" b="1">
                <a:solidFill>
                  <a:srgbClr val="581D74"/>
                </a:solidFill>
                <a:latin typeface="Montserrat" pitchFamily="2" charset="77"/>
                <a:cs typeface="Times New Roman" panose="02020603050405020304" pitchFamily="18" charset="0"/>
              </a:rPr>
              <a:t>proactive risk management.</a:t>
            </a:r>
          </a:p>
        </p:txBody>
      </p:sp>
    </p:spTree>
    <p:extLst>
      <p:ext uri="{BB962C8B-B14F-4D97-AF65-F5344CB8AC3E}">
        <p14:creationId xmlns:p14="http://schemas.microsoft.com/office/powerpoint/2010/main" val="1443127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905FEF-F01A-07F0-8832-DAE1D25C6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58B56BA-2FD7-2E19-AEC8-60E305E14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5381" y="221970"/>
            <a:ext cx="4392218" cy="456300"/>
          </a:xfrm>
        </p:spPr>
        <p:txBody>
          <a:bodyPr>
            <a:normAutofit/>
          </a:bodyPr>
          <a:lstStyle/>
          <a:p>
            <a:pPr algn="ctr"/>
            <a:r>
              <a:rPr lang="en">
                <a:sym typeface="Arial"/>
              </a:rPr>
              <a:t>BPCE GITHUB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2ABD059-D313-C120-E570-2C75F1096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7350" y="1177412"/>
            <a:ext cx="5829300" cy="278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570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59845EF5-25B0-D76E-2135-93D619373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</p:spPr>
        <p:txBody>
          <a:bodyPr>
            <a:normAutofit fontScale="90000"/>
          </a:bodyPr>
          <a:lstStyle/>
          <a:p>
            <a:pPr algn="ctr"/>
            <a:r>
              <a:rPr lang="en"/>
              <a:t>TOGETHER 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BB187D9-E2CC-8BAA-A3EE-CF380B8D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52" y="612001"/>
            <a:ext cx="7704098" cy="288032"/>
          </a:xfrm>
        </p:spPr>
        <p:txBody>
          <a:bodyPr/>
          <a:lstStyle/>
          <a:p>
            <a:r>
              <a:rPr lang="en"/>
              <a:t>BPCE is a member of TOSIT </a:t>
            </a:r>
            <a:endParaRPr lang="en-US"/>
          </a:p>
        </p:txBody>
      </p:sp>
      <p:sp>
        <p:nvSpPr>
          <p:cNvPr id="4" name="Oval 28">
            <a:extLst>
              <a:ext uri="{FF2B5EF4-FFF2-40B4-BE49-F238E27FC236}">
                <a16:creationId xmlns:a16="http://schemas.microsoft.com/office/drawing/2014/main" id="{4FD87B06-C2BA-EB1A-8544-CA0198E79754}"/>
              </a:ext>
            </a:extLst>
          </p:cNvPr>
          <p:cNvSpPr/>
          <p:nvPr/>
        </p:nvSpPr>
        <p:spPr>
          <a:xfrm>
            <a:off x="3179189" y="1433860"/>
            <a:ext cx="2796951" cy="2617651"/>
          </a:xfrm>
          <a:prstGeom prst="ellipse">
            <a:avLst/>
          </a:prstGeom>
          <a:solidFill>
            <a:schemeClr val="bg1">
              <a:alpha val="69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500">
                <a:solidFill>
                  <a:srgbClr val="664874"/>
                </a:solidFill>
              </a:rPr>
              <a:t>TOSIT (The Open Source I Trust) is an association that works and fights to support open source for a better quality in its use</a:t>
            </a: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90FA3AE-5E6B-B1DA-AE91-D506DCF6DD86}"/>
              </a:ext>
            </a:extLst>
          </p:cNvPr>
          <p:cNvSpPr/>
          <p:nvPr/>
        </p:nvSpPr>
        <p:spPr>
          <a:xfrm>
            <a:off x="3046659" y="1190976"/>
            <a:ext cx="3103420" cy="3103420"/>
          </a:xfrm>
          <a:prstGeom prst="arc">
            <a:avLst>
              <a:gd name="adj1" fmla="val 11547843"/>
              <a:gd name="adj2" fmla="val 0"/>
            </a:avLst>
          </a:prstGeom>
          <a:ln w="127000" cap="rnd">
            <a:solidFill>
              <a:srgbClr val="975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" name="Straight Connector 31">
            <a:extLst>
              <a:ext uri="{FF2B5EF4-FFF2-40B4-BE49-F238E27FC236}">
                <a16:creationId xmlns:a16="http://schemas.microsoft.com/office/drawing/2014/main" id="{C510E6F1-5100-522A-A49D-29E65DA540DC}"/>
              </a:ext>
            </a:extLst>
          </p:cNvPr>
          <p:cNvCxnSpPr/>
          <p:nvPr/>
        </p:nvCxnSpPr>
        <p:spPr>
          <a:xfrm>
            <a:off x="6150079" y="2758153"/>
            <a:ext cx="1133599" cy="0"/>
          </a:xfrm>
          <a:prstGeom prst="line">
            <a:avLst/>
          </a:prstGeom>
          <a:ln w="127000" cap="rnd">
            <a:solidFill>
              <a:srgbClr val="975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9">
            <a:extLst>
              <a:ext uri="{FF2B5EF4-FFF2-40B4-BE49-F238E27FC236}">
                <a16:creationId xmlns:a16="http://schemas.microsoft.com/office/drawing/2014/main" id="{10351451-EFB9-1C46-DA0B-9F896E6EF09C}"/>
              </a:ext>
            </a:extLst>
          </p:cNvPr>
          <p:cNvSpPr/>
          <p:nvPr/>
        </p:nvSpPr>
        <p:spPr>
          <a:xfrm>
            <a:off x="7270728" y="2057412"/>
            <a:ext cx="1401484" cy="14014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4873615E-C2CF-FAFB-7A49-009667655952}"/>
              </a:ext>
            </a:extLst>
          </p:cNvPr>
          <p:cNvSpPr/>
          <p:nvPr/>
        </p:nvSpPr>
        <p:spPr>
          <a:xfrm flipH="1" flipV="1">
            <a:off x="3046659" y="1206444"/>
            <a:ext cx="3103420" cy="3103420"/>
          </a:xfrm>
          <a:prstGeom prst="arc">
            <a:avLst>
              <a:gd name="adj1" fmla="val 11547843"/>
              <a:gd name="adj2" fmla="val 0"/>
            </a:avLst>
          </a:prstGeom>
          <a:ln w="127000" cap="rnd">
            <a:solidFill>
              <a:srgbClr val="229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2" name="Straight Connector 38">
            <a:extLst>
              <a:ext uri="{FF2B5EF4-FFF2-40B4-BE49-F238E27FC236}">
                <a16:creationId xmlns:a16="http://schemas.microsoft.com/office/drawing/2014/main" id="{B8DF27AC-2286-BECA-E04C-F637A3F70336}"/>
              </a:ext>
            </a:extLst>
          </p:cNvPr>
          <p:cNvCxnSpPr/>
          <p:nvPr/>
        </p:nvCxnSpPr>
        <p:spPr>
          <a:xfrm>
            <a:off x="1913060" y="2758153"/>
            <a:ext cx="1133599" cy="0"/>
          </a:xfrm>
          <a:prstGeom prst="line">
            <a:avLst/>
          </a:prstGeom>
          <a:ln w="127000" cap="rnd">
            <a:solidFill>
              <a:srgbClr val="229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8">
            <a:extLst>
              <a:ext uri="{FF2B5EF4-FFF2-40B4-BE49-F238E27FC236}">
                <a16:creationId xmlns:a16="http://schemas.microsoft.com/office/drawing/2014/main" id="{528301C3-7F61-EA05-018E-63456CD735C4}"/>
              </a:ext>
            </a:extLst>
          </p:cNvPr>
          <p:cNvSpPr/>
          <p:nvPr/>
        </p:nvSpPr>
        <p:spPr>
          <a:xfrm>
            <a:off x="524523" y="2057412"/>
            <a:ext cx="1401484" cy="14014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7BF0ACDF-1B4D-C58B-1686-ECD7F10944B6}"/>
              </a:ext>
            </a:extLst>
          </p:cNvPr>
          <p:cNvSpPr/>
          <p:nvPr/>
        </p:nvSpPr>
        <p:spPr>
          <a:xfrm flipH="1" flipV="1">
            <a:off x="7244827" y="2031511"/>
            <a:ext cx="1453284" cy="1453284"/>
          </a:xfrm>
          <a:prstGeom prst="arc">
            <a:avLst>
              <a:gd name="adj1" fmla="val 12241048"/>
              <a:gd name="adj2" fmla="val 21583480"/>
            </a:avLst>
          </a:prstGeom>
          <a:ln w="127000" cap="rnd">
            <a:solidFill>
              <a:srgbClr val="975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3FAD2679-1495-7C0B-436F-5CA494FAA627}"/>
              </a:ext>
            </a:extLst>
          </p:cNvPr>
          <p:cNvSpPr/>
          <p:nvPr/>
        </p:nvSpPr>
        <p:spPr>
          <a:xfrm flipV="1">
            <a:off x="504495" y="2031511"/>
            <a:ext cx="1453284" cy="1453284"/>
          </a:xfrm>
          <a:prstGeom prst="arc">
            <a:avLst>
              <a:gd name="adj1" fmla="val 12241048"/>
              <a:gd name="adj2" fmla="val 21583480"/>
            </a:avLst>
          </a:prstGeom>
          <a:ln w="127000" cap="rnd">
            <a:solidFill>
              <a:srgbClr val="229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6" name="TextBox 46">
            <a:extLst>
              <a:ext uri="{FF2B5EF4-FFF2-40B4-BE49-F238E27FC236}">
                <a16:creationId xmlns:a16="http://schemas.microsoft.com/office/drawing/2014/main" id="{309D1CC9-CEC4-12BA-9B39-8B929985D0EA}"/>
              </a:ext>
            </a:extLst>
          </p:cNvPr>
          <p:cNvSpPr txBox="1"/>
          <p:nvPr/>
        </p:nvSpPr>
        <p:spPr>
          <a:xfrm>
            <a:off x="0" y="1535380"/>
            <a:ext cx="2450530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" sz="2400" err="1">
                <a:solidFill>
                  <a:srgbClr val="581D74"/>
                </a:solidFill>
              </a:rPr>
              <a:t>Since then?</a:t>
            </a:r>
            <a:endParaRPr lang="en-US" sz="2400">
              <a:solidFill>
                <a:srgbClr val="581D74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Box 47">
            <a:extLst>
              <a:ext uri="{FF2B5EF4-FFF2-40B4-BE49-F238E27FC236}">
                <a16:creationId xmlns:a16="http://schemas.microsoft.com/office/drawing/2014/main" id="{9B09FC3C-8E7D-7C9D-C0FA-97FB5B244C63}"/>
              </a:ext>
            </a:extLst>
          </p:cNvPr>
          <p:cNvSpPr txBox="1"/>
          <p:nvPr/>
        </p:nvSpPr>
        <p:spPr>
          <a:xfrm>
            <a:off x="6444209" y="1535380"/>
            <a:ext cx="267753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" sz="2400" err="1">
                <a:solidFill>
                  <a:srgbClr val="581D74"/>
                </a:solidFill>
              </a:rPr>
              <a:t>Who is a member? </a:t>
            </a:r>
          </a:p>
        </p:txBody>
      </p:sp>
      <p:grpSp>
        <p:nvGrpSpPr>
          <p:cNvPr id="18" name="Graphique 125">
            <a:extLst>
              <a:ext uri="{FF2B5EF4-FFF2-40B4-BE49-F238E27FC236}">
                <a16:creationId xmlns:a16="http://schemas.microsoft.com/office/drawing/2014/main" id="{0673CAD1-902D-B9D1-9659-802B486866BD}"/>
              </a:ext>
            </a:extLst>
          </p:cNvPr>
          <p:cNvGrpSpPr/>
          <p:nvPr/>
        </p:nvGrpSpPr>
        <p:grpSpPr>
          <a:xfrm>
            <a:off x="829686" y="2331984"/>
            <a:ext cx="778300" cy="731798"/>
            <a:chOff x="7546345" y="3400002"/>
            <a:chExt cx="1254247" cy="1138115"/>
          </a:xfrm>
        </p:grpSpPr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C400A29B-BB79-7F06-E431-99E57CDA85A2}"/>
                </a:ext>
              </a:extLst>
            </p:cNvPr>
            <p:cNvSpPr/>
            <p:nvPr/>
          </p:nvSpPr>
          <p:spPr>
            <a:xfrm>
              <a:off x="7546345" y="3516132"/>
              <a:ext cx="1254247" cy="185818"/>
            </a:xfrm>
            <a:custGeom>
              <a:avLst/>
              <a:gdLst>
                <a:gd name="connsiteX0" fmla="*/ 1231021 w 1254247"/>
                <a:gd name="connsiteY0" fmla="*/ 185819 h 185818"/>
                <a:gd name="connsiteX1" fmla="*/ 23226 w 1254247"/>
                <a:gd name="connsiteY1" fmla="*/ 185819 h 185818"/>
                <a:gd name="connsiteX2" fmla="*/ 0 w 1254247"/>
                <a:gd name="connsiteY2" fmla="*/ 162594 h 185818"/>
                <a:gd name="connsiteX3" fmla="*/ 0 w 1254247"/>
                <a:gd name="connsiteY3" fmla="*/ 23226 h 185818"/>
                <a:gd name="connsiteX4" fmla="*/ 23226 w 1254247"/>
                <a:gd name="connsiteY4" fmla="*/ 0 h 185818"/>
                <a:gd name="connsiteX5" fmla="*/ 1231021 w 1254247"/>
                <a:gd name="connsiteY5" fmla="*/ 0 h 185818"/>
                <a:gd name="connsiteX6" fmla="*/ 1254248 w 1254247"/>
                <a:gd name="connsiteY6" fmla="*/ 23226 h 185818"/>
                <a:gd name="connsiteX7" fmla="*/ 1254248 w 1254247"/>
                <a:gd name="connsiteY7" fmla="*/ 162594 h 185818"/>
                <a:gd name="connsiteX8" fmla="*/ 1231021 w 1254247"/>
                <a:gd name="connsiteY8" fmla="*/ 185819 h 185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247" h="185818">
                  <a:moveTo>
                    <a:pt x="1231021" y="185819"/>
                  </a:moveTo>
                  <a:lnTo>
                    <a:pt x="23226" y="185819"/>
                  </a:lnTo>
                  <a:cubicBezTo>
                    <a:pt x="10394" y="185819"/>
                    <a:pt x="0" y="175415"/>
                    <a:pt x="0" y="162594"/>
                  </a:cubicBezTo>
                  <a:lnTo>
                    <a:pt x="0" y="23226"/>
                  </a:lnTo>
                  <a:cubicBezTo>
                    <a:pt x="0" y="10404"/>
                    <a:pt x="10394" y="0"/>
                    <a:pt x="23226" y="0"/>
                  </a:cubicBezTo>
                  <a:lnTo>
                    <a:pt x="1231021" y="0"/>
                  </a:lnTo>
                  <a:cubicBezTo>
                    <a:pt x="1243852" y="0"/>
                    <a:pt x="1254248" y="10404"/>
                    <a:pt x="1254248" y="23226"/>
                  </a:cubicBezTo>
                  <a:lnTo>
                    <a:pt x="1254248" y="162594"/>
                  </a:lnTo>
                  <a:cubicBezTo>
                    <a:pt x="1254248" y="175415"/>
                    <a:pt x="1243852" y="185819"/>
                    <a:pt x="1231021" y="185819"/>
                  </a:cubicBezTo>
                  <a:close/>
                </a:path>
              </a:pathLst>
            </a:custGeom>
            <a:solidFill>
              <a:srgbClr val="571C73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0CEC744-EDC5-DD1E-D353-3E43EDF04ECA}"/>
                </a:ext>
              </a:extLst>
            </p:cNvPr>
            <p:cNvSpPr/>
            <p:nvPr/>
          </p:nvSpPr>
          <p:spPr>
            <a:xfrm>
              <a:off x="7592797" y="3701951"/>
              <a:ext cx="1161342" cy="836166"/>
            </a:xfrm>
            <a:custGeom>
              <a:avLst/>
              <a:gdLst>
                <a:gd name="connsiteX0" fmla="*/ 1138115 w 1161342"/>
                <a:gd name="connsiteY0" fmla="*/ 836167 h 836166"/>
                <a:gd name="connsiteX1" fmla="*/ 23226 w 1161342"/>
                <a:gd name="connsiteY1" fmla="*/ 836167 h 836166"/>
                <a:gd name="connsiteX2" fmla="*/ 0 w 1161342"/>
                <a:gd name="connsiteY2" fmla="*/ 812940 h 836166"/>
                <a:gd name="connsiteX3" fmla="*/ 0 w 1161342"/>
                <a:gd name="connsiteY3" fmla="*/ 0 h 836166"/>
                <a:gd name="connsiteX4" fmla="*/ 1161342 w 1161342"/>
                <a:gd name="connsiteY4" fmla="*/ 0 h 836166"/>
                <a:gd name="connsiteX5" fmla="*/ 1161342 w 1161342"/>
                <a:gd name="connsiteY5" fmla="*/ 812940 h 836166"/>
                <a:gd name="connsiteX6" fmla="*/ 1138115 w 1161342"/>
                <a:gd name="connsiteY6" fmla="*/ 836167 h 83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1342" h="836166">
                  <a:moveTo>
                    <a:pt x="1138115" y="836167"/>
                  </a:moveTo>
                  <a:lnTo>
                    <a:pt x="23226" y="836167"/>
                  </a:lnTo>
                  <a:cubicBezTo>
                    <a:pt x="10404" y="836167"/>
                    <a:pt x="0" y="825772"/>
                    <a:pt x="0" y="812940"/>
                  </a:cubicBezTo>
                  <a:lnTo>
                    <a:pt x="0" y="0"/>
                  </a:lnTo>
                  <a:lnTo>
                    <a:pt x="1161342" y="0"/>
                  </a:lnTo>
                  <a:lnTo>
                    <a:pt x="1161342" y="812940"/>
                  </a:lnTo>
                  <a:cubicBezTo>
                    <a:pt x="1161342" y="825772"/>
                    <a:pt x="1150949" y="836167"/>
                    <a:pt x="1138115" y="836167"/>
                  </a:cubicBezTo>
                  <a:close/>
                </a:path>
              </a:pathLst>
            </a:custGeom>
            <a:solidFill>
              <a:srgbClr val="ECEAEC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99E98C4-446D-435D-D873-10AE27FB1A72}"/>
                </a:ext>
              </a:extLst>
            </p:cNvPr>
            <p:cNvSpPr/>
            <p:nvPr/>
          </p:nvSpPr>
          <p:spPr>
            <a:xfrm>
              <a:off x="7639249" y="3400002"/>
              <a:ext cx="92904" cy="185820"/>
            </a:xfrm>
            <a:custGeom>
              <a:avLst/>
              <a:gdLst>
                <a:gd name="connsiteX0" fmla="*/ 46452 w 92904"/>
                <a:gd name="connsiteY0" fmla="*/ 185820 h 185820"/>
                <a:gd name="connsiteX1" fmla="*/ 0 w 92904"/>
                <a:gd name="connsiteY1" fmla="*/ 139368 h 185820"/>
                <a:gd name="connsiteX2" fmla="*/ 0 w 92904"/>
                <a:gd name="connsiteY2" fmla="*/ 46452 h 185820"/>
                <a:gd name="connsiteX3" fmla="*/ 46452 w 92904"/>
                <a:gd name="connsiteY3" fmla="*/ 0 h 185820"/>
                <a:gd name="connsiteX4" fmla="*/ 92905 w 92904"/>
                <a:gd name="connsiteY4" fmla="*/ 46452 h 185820"/>
                <a:gd name="connsiteX5" fmla="*/ 92905 w 92904"/>
                <a:gd name="connsiteY5" fmla="*/ 139357 h 185820"/>
                <a:gd name="connsiteX6" fmla="*/ 46452 w 92904"/>
                <a:gd name="connsiteY6" fmla="*/ 18582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04" h="185820">
                  <a:moveTo>
                    <a:pt x="46452" y="185820"/>
                  </a:moveTo>
                  <a:cubicBezTo>
                    <a:pt x="20798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8" y="0"/>
                    <a:pt x="46452" y="0"/>
                  </a:cubicBezTo>
                  <a:cubicBezTo>
                    <a:pt x="72118" y="0"/>
                    <a:pt x="92905" y="20798"/>
                    <a:pt x="92905" y="46452"/>
                  </a:cubicBezTo>
                  <a:lnTo>
                    <a:pt x="92905" y="139357"/>
                  </a:lnTo>
                  <a:cubicBezTo>
                    <a:pt x="92916" y="165022"/>
                    <a:pt x="72118" y="185820"/>
                    <a:pt x="46452" y="185820"/>
                  </a:cubicBezTo>
                  <a:close/>
                </a:path>
              </a:pathLst>
            </a:custGeom>
            <a:solidFill>
              <a:srgbClr val="C8C5C9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E9B2892A-CEFA-6700-E332-CE2E428ACEA7}"/>
                </a:ext>
              </a:extLst>
            </p:cNvPr>
            <p:cNvSpPr/>
            <p:nvPr/>
          </p:nvSpPr>
          <p:spPr>
            <a:xfrm>
              <a:off x="7546345" y="3655500"/>
              <a:ext cx="1254247" cy="46451"/>
            </a:xfrm>
            <a:custGeom>
              <a:avLst/>
              <a:gdLst>
                <a:gd name="connsiteX0" fmla="*/ 0 w 1254247"/>
                <a:gd name="connsiteY0" fmla="*/ 0 h 46451"/>
                <a:gd name="connsiteX1" fmla="*/ 0 w 1254247"/>
                <a:gd name="connsiteY1" fmla="*/ 23226 h 46451"/>
                <a:gd name="connsiteX2" fmla="*/ 23226 w 1254247"/>
                <a:gd name="connsiteY2" fmla="*/ 46451 h 46451"/>
                <a:gd name="connsiteX3" fmla="*/ 1231021 w 1254247"/>
                <a:gd name="connsiteY3" fmla="*/ 46451 h 46451"/>
                <a:gd name="connsiteX4" fmla="*/ 1254248 w 1254247"/>
                <a:gd name="connsiteY4" fmla="*/ 23226 h 46451"/>
                <a:gd name="connsiteX5" fmla="*/ 1254248 w 1254247"/>
                <a:gd name="connsiteY5" fmla="*/ 0 h 46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4247" h="46451">
                  <a:moveTo>
                    <a:pt x="0" y="0"/>
                  </a:moveTo>
                  <a:lnTo>
                    <a:pt x="0" y="23226"/>
                  </a:lnTo>
                  <a:cubicBezTo>
                    <a:pt x="0" y="36047"/>
                    <a:pt x="10394" y="46451"/>
                    <a:pt x="23226" y="46451"/>
                  </a:cubicBezTo>
                  <a:lnTo>
                    <a:pt x="1231021" y="46451"/>
                  </a:lnTo>
                  <a:cubicBezTo>
                    <a:pt x="1243852" y="46451"/>
                    <a:pt x="1254248" y="36047"/>
                    <a:pt x="1254248" y="23226"/>
                  </a:cubicBezTo>
                  <a:lnTo>
                    <a:pt x="1254248" y="0"/>
                  </a:lnTo>
                  <a:close/>
                </a:path>
              </a:pathLst>
            </a:custGeom>
            <a:solidFill>
              <a:srgbClr val="9258A2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1F3B0D8C-9801-5C9D-0730-DDE76A774CFE}"/>
                </a:ext>
              </a:extLst>
            </p:cNvPr>
            <p:cNvSpPr/>
            <p:nvPr/>
          </p:nvSpPr>
          <p:spPr>
            <a:xfrm>
              <a:off x="7592797" y="3701951"/>
              <a:ext cx="1161342" cy="46453"/>
            </a:xfrm>
            <a:custGeom>
              <a:avLst/>
              <a:gdLst>
                <a:gd name="connsiteX0" fmla="*/ 0 w 1161342"/>
                <a:gd name="connsiteY0" fmla="*/ 0 h 46453"/>
                <a:gd name="connsiteX1" fmla="*/ 1161342 w 1161342"/>
                <a:gd name="connsiteY1" fmla="*/ 0 h 46453"/>
                <a:gd name="connsiteX2" fmla="*/ 1161342 w 1161342"/>
                <a:gd name="connsiteY2" fmla="*/ 46453 h 46453"/>
                <a:gd name="connsiteX3" fmla="*/ 0 w 1161342"/>
                <a:gd name="connsiteY3" fmla="*/ 46453 h 4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1342" h="46453">
                  <a:moveTo>
                    <a:pt x="0" y="0"/>
                  </a:moveTo>
                  <a:lnTo>
                    <a:pt x="1161342" y="0"/>
                  </a:lnTo>
                  <a:lnTo>
                    <a:pt x="1161342" y="46453"/>
                  </a:lnTo>
                  <a:lnTo>
                    <a:pt x="0" y="46453"/>
                  </a:lnTo>
                  <a:close/>
                </a:path>
              </a:pathLst>
            </a:custGeom>
            <a:solidFill>
              <a:srgbClr val="DAD8DB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7B3BD415-E236-BFB4-6175-D643183E2CA0}"/>
                </a:ext>
              </a:extLst>
            </p:cNvPr>
            <p:cNvSpPr/>
            <p:nvPr/>
          </p:nvSpPr>
          <p:spPr>
            <a:xfrm>
              <a:off x="7639249" y="3400002"/>
              <a:ext cx="46452" cy="185820"/>
            </a:xfrm>
            <a:custGeom>
              <a:avLst/>
              <a:gdLst>
                <a:gd name="connsiteX0" fmla="*/ 46452 w 46452"/>
                <a:gd name="connsiteY0" fmla="*/ 185820 h 185820"/>
                <a:gd name="connsiteX1" fmla="*/ 0 w 46452"/>
                <a:gd name="connsiteY1" fmla="*/ 139368 h 185820"/>
                <a:gd name="connsiteX2" fmla="*/ 0 w 46452"/>
                <a:gd name="connsiteY2" fmla="*/ 46452 h 185820"/>
                <a:gd name="connsiteX3" fmla="*/ 46452 w 46452"/>
                <a:gd name="connsiteY3" fmla="*/ 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2" h="185820">
                  <a:moveTo>
                    <a:pt x="46452" y="185820"/>
                  </a:moveTo>
                  <a:cubicBezTo>
                    <a:pt x="20798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8" y="0"/>
                    <a:pt x="46452" y="0"/>
                  </a:cubicBezTo>
                  <a:close/>
                </a:path>
              </a:pathLst>
            </a:custGeom>
            <a:solidFill>
              <a:srgbClr val="B6B1B7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05E3F0AB-4856-BBAA-C510-8F84525C6EAF}"/>
                </a:ext>
              </a:extLst>
            </p:cNvPr>
            <p:cNvSpPr/>
            <p:nvPr/>
          </p:nvSpPr>
          <p:spPr>
            <a:xfrm>
              <a:off x="8127021" y="3400002"/>
              <a:ext cx="92903" cy="185820"/>
            </a:xfrm>
            <a:custGeom>
              <a:avLst/>
              <a:gdLst>
                <a:gd name="connsiteX0" fmla="*/ 46453 w 92903"/>
                <a:gd name="connsiteY0" fmla="*/ 185820 h 185820"/>
                <a:gd name="connsiteX1" fmla="*/ 0 w 92903"/>
                <a:gd name="connsiteY1" fmla="*/ 139368 h 185820"/>
                <a:gd name="connsiteX2" fmla="*/ 0 w 92903"/>
                <a:gd name="connsiteY2" fmla="*/ 46452 h 185820"/>
                <a:gd name="connsiteX3" fmla="*/ 46453 w 92903"/>
                <a:gd name="connsiteY3" fmla="*/ 0 h 185820"/>
                <a:gd name="connsiteX4" fmla="*/ 92904 w 92903"/>
                <a:gd name="connsiteY4" fmla="*/ 46452 h 185820"/>
                <a:gd name="connsiteX5" fmla="*/ 92904 w 92903"/>
                <a:gd name="connsiteY5" fmla="*/ 139357 h 185820"/>
                <a:gd name="connsiteX6" fmla="*/ 46453 w 92903"/>
                <a:gd name="connsiteY6" fmla="*/ 18582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03" h="185820">
                  <a:moveTo>
                    <a:pt x="46453" y="185820"/>
                  </a:moveTo>
                  <a:cubicBezTo>
                    <a:pt x="20799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9" y="0"/>
                    <a:pt x="46453" y="0"/>
                  </a:cubicBezTo>
                  <a:cubicBezTo>
                    <a:pt x="72107" y="0"/>
                    <a:pt x="92904" y="20798"/>
                    <a:pt x="92904" y="46452"/>
                  </a:cubicBezTo>
                  <a:lnTo>
                    <a:pt x="92904" y="139357"/>
                  </a:lnTo>
                  <a:cubicBezTo>
                    <a:pt x="92904" y="165022"/>
                    <a:pt x="72107" y="185820"/>
                    <a:pt x="46453" y="185820"/>
                  </a:cubicBezTo>
                  <a:close/>
                </a:path>
              </a:pathLst>
            </a:custGeom>
            <a:solidFill>
              <a:srgbClr val="C8C5C9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A6F3986-25E6-6D49-9F78-D236DDD21406}"/>
                </a:ext>
              </a:extLst>
            </p:cNvPr>
            <p:cNvSpPr/>
            <p:nvPr/>
          </p:nvSpPr>
          <p:spPr>
            <a:xfrm>
              <a:off x="8127021" y="3400002"/>
              <a:ext cx="46453" cy="185820"/>
            </a:xfrm>
            <a:custGeom>
              <a:avLst/>
              <a:gdLst>
                <a:gd name="connsiteX0" fmla="*/ 46453 w 46453"/>
                <a:gd name="connsiteY0" fmla="*/ 185820 h 185820"/>
                <a:gd name="connsiteX1" fmla="*/ 0 w 46453"/>
                <a:gd name="connsiteY1" fmla="*/ 139368 h 185820"/>
                <a:gd name="connsiteX2" fmla="*/ 0 w 46453"/>
                <a:gd name="connsiteY2" fmla="*/ 46452 h 185820"/>
                <a:gd name="connsiteX3" fmla="*/ 46453 w 46453"/>
                <a:gd name="connsiteY3" fmla="*/ 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" h="185820">
                  <a:moveTo>
                    <a:pt x="46453" y="185820"/>
                  </a:moveTo>
                  <a:cubicBezTo>
                    <a:pt x="20799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9" y="0"/>
                    <a:pt x="46453" y="0"/>
                  </a:cubicBezTo>
                  <a:close/>
                </a:path>
              </a:pathLst>
            </a:custGeom>
            <a:solidFill>
              <a:srgbClr val="B6B1B7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F02F2805-2A41-723C-7C8A-4D44053883EB}"/>
                </a:ext>
              </a:extLst>
            </p:cNvPr>
            <p:cNvSpPr/>
            <p:nvPr/>
          </p:nvSpPr>
          <p:spPr>
            <a:xfrm>
              <a:off x="8614781" y="3400002"/>
              <a:ext cx="92904" cy="185820"/>
            </a:xfrm>
            <a:custGeom>
              <a:avLst/>
              <a:gdLst>
                <a:gd name="connsiteX0" fmla="*/ 46453 w 92904"/>
                <a:gd name="connsiteY0" fmla="*/ 185820 h 185820"/>
                <a:gd name="connsiteX1" fmla="*/ 0 w 92904"/>
                <a:gd name="connsiteY1" fmla="*/ 139368 h 185820"/>
                <a:gd name="connsiteX2" fmla="*/ 0 w 92904"/>
                <a:gd name="connsiteY2" fmla="*/ 46452 h 185820"/>
                <a:gd name="connsiteX3" fmla="*/ 46453 w 92904"/>
                <a:gd name="connsiteY3" fmla="*/ 0 h 185820"/>
                <a:gd name="connsiteX4" fmla="*/ 92904 w 92904"/>
                <a:gd name="connsiteY4" fmla="*/ 46452 h 185820"/>
                <a:gd name="connsiteX5" fmla="*/ 92904 w 92904"/>
                <a:gd name="connsiteY5" fmla="*/ 139357 h 185820"/>
                <a:gd name="connsiteX6" fmla="*/ 46453 w 92904"/>
                <a:gd name="connsiteY6" fmla="*/ 18582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04" h="185820">
                  <a:moveTo>
                    <a:pt x="46453" y="185820"/>
                  </a:moveTo>
                  <a:cubicBezTo>
                    <a:pt x="20799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9" y="0"/>
                    <a:pt x="46453" y="0"/>
                  </a:cubicBezTo>
                  <a:cubicBezTo>
                    <a:pt x="72107" y="0"/>
                    <a:pt x="92904" y="20798"/>
                    <a:pt x="92904" y="46452"/>
                  </a:cubicBezTo>
                  <a:lnTo>
                    <a:pt x="92904" y="139357"/>
                  </a:lnTo>
                  <a:cubicBezTo>
                    <a:pt x="92904" y="165022"/>
                    <a:pt x="72107" y="185820"/>
                    <a:pt x="46453" y="185820"/>
                  </a:cubicBezTo>
                  <a:close/>
                </a:path>
              </a:pathLst>
            </a:custGeom>
            <a:solidFill>
              <a:srgbClr val="C8C5C9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9A7EA494-A86A-ADCF-D874-720FC4943566}"/>
                </a:ext>
              </a:extLst>
            </p:cNvPr>
            <p:cNvSpPr/>
            <p:nvPr/>
          </p:nvSpPr>
          <p:spPr>
            <a:xfrm>
              <a:off x="8614781" y="3400002"/>
              <a:ext cx="46453" cy="185820"/>
            </a:xfrm>
            <a:custGeom>
              <a:avLst/>
              <a:gdLst>
                <a:gd name="connsiteX0" fmla="*/ 46453 w 46453"/>
                <a:gd name="connsiteY0" fmla="*/ 185820 h 185820"/>
                <a:gd name="connsiteX1" fmla="*/ 0 w 46453"/>
                <a:gd name="connsiteY1" fmla="*/ 139368 h 185820"/>
                <a:gd name="connsiteX2" fmla="*/ 0 w 46453"/>
                <a:gd name="connsiteY2" fmla="*/ 46452 h 185820"/>
                <a:gd name="connsiteX3" fmla="*/ 46453 w 46453"/>
                <a:gd name="connsiteY3" fmla="*/ 0 h 18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" h="185820">
                  <a:moveTo>
                    <a:pt x="46453" y="185820"/>
                  </a:moveTo>
                  <a:cubicBezTo>
                    <a:pt x="20799" y="185820"/>
                    <a:pt x="0" y="165022"/>
                    <a:pt x="0" y="139368"/>
                  </a:cubicBezTo>
                  <a:lnTo>
                    <a:pt x="0" y="46452"/>
                  </a:lnTo>
                  <a:cubicBezTo>
                    <a:pt x="0" y="20798"/>
                    <a:pt x="20799" y="0"/>
                    <a:pt x="46453" y="0"/>
                  </a:cubicBezTo>
                  <a:close/>
                </a:path>
              </a:pathLst>
            </a:custGeom>
            <a:solidFill>
              <a:srgbClr val="B6B1B7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44D35B24-C2F3-0919-D44F-FFDE85223F33}"/>
                </a:ext>
              </a:extLst>
            </p:cNvPr>
            <p:cNvSpPr/>
            <p:nvPr/>
          </p:nvSpPr>
          <p:spPr>
            <a:xfrm>
              <a:off x="7708939" y="3818085"/>
              <a:ext cx="929069" cy="603899"/>
            </a:xfrm>
            <a:custGeom>
              <a:avLst/>
              <a:gdLst>
                <a:gd name="connsiteX0" fmla="*/ 905843 w 929069"/>
                <a:gd name="connsiteY0" fmla="*/ 0 h 603899"/>
                <a:gd name="connsiteX1" fmla="*/ 23226 w 929069"/>
                <a:gd name="connsiteY1" fmla="*/ 0 h 603899"/>
                <a:gd name="connsiteX2" fmla="*/ 0 w 929069"/>
                <a:gd name="connsiteY2" fmla="*/ 23224 h 603899"/>
                <a:gd name="connsiteX3" fmla="*/ 0 w 929069"/>
                <a:gd name="connsiteY3" fmla="*/ 580676 h 603899"/>
                <a:gd name="connsiteX4" fmla="*/ 23226 w 929069"/>
                <a:gd name="connsiteY4" fmla="*/ 603900 h 603899"/>
                <a:gd name="connsiteX5" fmla="*/ 905843 w 929069"/>
                <a:gd name="connsiteY5" fmla="*/ 603900 h 603899"/>
                <a:gd name="connsiteX6" fmla="*/ 929069 w 929069"/>
                <a:gd name="connsiteY6" fmla="*/ 580676 h 603899"/>
                <a:gd name="connsiteX7" fmla="*/ 929069 w 929069"/>
                <a:gd name="connsiteY7" fmla="*/ 23224 h 603899"/>
                <a:gd name="connsiteX8" fmla="*/ 905843 w 929069"/>
                <a:gd name="connsiteY8" fmla="*/ 0 h 603899"/>
                <a:gd name="connsiteX9" fmla="*/ 661957 w 929069"/>
                <a:gd name="connsiteY9" fmla="*/ 278723 h 603899"/>
                <a:gd name="connsiteX10" fmla="*/ 487762 w 929069"/>
                <a:gd name="connsiteY10" fmla="*/ 278723 h 603899"/>
                <a:gd name="connsiteX11" fmla="*/ 487762 w 929069"/>
                <a:gd name="connsiteY11" fmla="*/ 185819 h 603899"/>
                <a:gd name="connsiteX12" fmla="*/ 661957 w 929069"/>
                <a:gd name="connsiteY12" fmla="*/ 185819 h 603899"/>
                <a:gd name="connsiteX13" fmla="*/ 708410 w 929069"/>
                <a:gd name="connsiteY13" fmla="*/ 185819 h 603899"/>
                <a:gd name="connsiteX14" fmla="*/ 882616 w 929069"/>
                <a:gd name="connsiteY14" fmla="*/ 185819 h 603899"/>
                <a:gd name="connsiteX15" fmla="*/ 882616 w 929069"/>
                <a:gd name="connsiteY15" fmla="*/ 278723 h 603899"/>
                <a:gd name="connsiteX16" fmla="*/ 708410 w 929069"/>
                <a:gd name="connsiteY16" fmla="*/ 278723 h 603899"/>
                <a:gd name="connsiteX17" fmla="*/ 487762 w 929069"/>
                <a:gd name="connsiteY17" fmla="*/ 139366 h 603899"/>
                <a:gd name="connsiteX18" fmla="*/ 487762 w 929069"/>
                <a:gd name="connsiteY18" fmla="*/ 46451 h 603899"/>
                <a:gd name="connsiteX19" fmla="*/ 661957 w 929069"/>
                <a:gd name="connsiteY19" fmla="*/ 46451 h 603899"/>
                <a:gd name="connsiteX20" fmla="*/ 661957 w 929069"/>
                <a:gd name="connsiteY20" fmla="*/ 139355 h 603899"/>
                <a:gd name="connsiteX21" fmla="*/ 487762 w 929069"/>
                <a:gd name="connsiteY21" fmla="*/ 139355 h 603899"/>
                <a:gd name="connsiteX22" fmla="*/ 441309 w 929069"/>
                <a:gd name="connsiteY22" fmla="*/ 139366 h 603899"/>
                <a:gd name="connsiteX23" fmla="*/ 267100 w 929069"/>
                <a:gd name="connsiteY23" fmla="*/ 139366 h 603899"/>
                <a:gd name="connsiteX24" fmla="*/ 267100 w 929069"/>
                <a:gd name="connsiteY24" fmla="*/ 46451 h 603899"/>
                <a:gd name="connsiteX25" fmla="*/ 441309 w 929069"/>
                <a:gd name="connsiteY25" fmla="*/ 46451 h 603899"/>
                <a:gd name="connsiteX26" fmla="*/ 441309 w 929069"/>
                <a:gd name="connsiteY26" fmla="*/ 185819 h 603899"/>
                <a:gd name="connsiteX27" fmla="*/ 441309 w 929069"/>
                <a:gd name="connsiteY27" fmla="*/ 278723 h 603899"/>
                <a:gd name="connsiteX28" fmla="*/ 267100 w 929069"/>
                <a:gd name="connsiteY28" fmla="*/ 278723 h 603899"/>
                <a:gd name="connsiteX29" fmla="*/ 267100 w 929069"/>
                <a:gd name="connsiteY29" fmla="*/ 185819 h 603899"/>
                <a:gd name="connsiteX30" fmla="*/ 220649 w 929069"/>
                <a:gd name="connsiteY30" fmla="*/ 278723 h 603899"/>
                <a:gd name="connsiteX31" fmla="*/ 46452 w 929069"/>
                <a:gd name="connsiteY31" fmla="*/ 278723 h 603899"/>
                <a:gd name="connsiteX32" fmla="*/ 46452 w 929069"/>
                <a:gd name="connsiteY32" fmla="*/ 185819 h 603899"/>
                <a:gd name="connsiteX33" fmla="*/ 220649 w 929069"/>
                <a:gd name="connsiteY33" fmla="*/ 185819 h 603899"/>
                <a:gd name="connsiteX34" fmla="*/ 46452 w 929069"/>
                <a:gd name="connsiteY34" fmla="*/ 325177 h 603899"/>
                <a:gd name="connsiteX35" fmla="*/ 220649 w 929069"/>
                <a:gd name="connsiteY35" fmla="*/ 325177 h 603899"/>
                <a:gd name="connsiteX36" fmla="*/ 220649 w 929069"/>
                <a:gd name="connsiteY36" fmla="*/ 418081 h 603899"/>
                <a:gd name="connsiteX37" fmla="*/ 46452 w 929069"/>
                <a:gd name="connsiteY37" fmla="*/ 418081 h 603899"/>
                <a:gd name="connsiteX38" fmla="*/ 267100 w 929069"/>
                <a:gd name="connsiteY38" fmla="*/ 325177 h 603899"/>
                <a:gd name="connsiteX39" fmla="*/ 441309 w 929069"/>
                <a:gd name="connsiteY39" fmla="*/ 325177 h 603899"/>
                <a:gd name="connsiteX40" fmla="*/ 441309 w 929069"/>
                <a:gd name="connsiteY40" fmla="*/ 418081 h 603899"/>
                <a:gd name="connsiteX41" fmla="*/ 267100 w 929069"/>
                <a:gd name="connsiteY41" fmla="*/ 418081 h 603899"/>
                <a:gd name="connsiteX42" fmla="*/ 441309 w 929069"/>
                <a:gd name="connsiteY42" fmla="*/ 464534 h 603899"/>
                <a:gd name="connsiteX43" fmla="*/ 441309 w 929069"/>
                <a:gd name="connsiteY43" fmla="*/ 557449 h 603899"/>
                <a:gd name="connsiteX44" fmla="*/ 267100 w 929069"/>
                <a:gd name="connsiteY44" fmla="*/ 557449 h 603899"/>
                <a:gd name="connsiteX45" fmla="*/ 267100 w 929069"/>
                <a:gd name="connsiteY45" fmla="*/ 464534 h 603899"/>
                <a:gd name="connsiteX46" fmla="*/ 487762 w 929069"/>
                <a:gd name="connsiteY46" fmla="*/ 464534 h 603899"/>
                <a:gd name="connsiteX47" fmla="*/ 661957 w 929069"/>
                <a:gd name="connsiteY47" fmla="*/ 464534 h 603899"/>
                <a:gd name="connsiteX48" fmla="*/ 661957 w 929069"/>
                <a:gd name="connsiteY48" fmla="*/ 557449 h 603899"/>
                <a:gd name="connsiteX49" fmla="*/ 487762 w 929069"/>
                <a:gd name="connsiteY49" fmla="*/ 557449 h 603899"/>
                <a:gd name="connsiteX50" fmla="*/ 487762 w 929069"/>
                <a:gd name="connsiteY50" fmla="*/ 418081 h 603899"/>
                <a:gd name="connsiteX51" fmla="*/ 487762 w 929069"/>
                <a:gd name="connsiteY51" fmla="*/ 325177 h 603899"/>
                <a:gd name="connsiteX52" fmla="*/ 661957 w 929069"/>
                <a:gd name="connsiteY52" fmla="*/ 325177 h 603899"/>
                <a:gd name="connsiteX53" fmla="*/ 661957 w 929069"/>
                <a:gd name="connsiteY53" fmla="*/ 418081 h 603899"/>
                <a:gd name="connsiteX54" fmla="*/ 708410 w 929069"/>
                <a:gd name="connsiteY54" fmla="*/ 325177 h 603899"/>
                <a:gd name="connsiteX55" fmla="*/ 882616 w 929069"/>
                <a:gd name="connsiteY55" fmla="*/ 325177 h 603899"/>
                <a:gd name="connsiteX56" fmla="*/ 882616 w 929069"/>
                <a:gd name="connsiteY56" fmla="*/ 418081 h 603899"/>
                <a:gd name="connsiteX57" fmla="*/ 708410 w 929069"/>
                <a:gd name="connsiteY57" fmla="*/ 418081 h 603899"/>
                <a:gd name="connsiteX58" fmla="*/ 882616 w 929069"/>
                <a:gd name="connsiteY58" fmla="*/ 139366 h 603899"/>
                <a:gd name="connsiteX59" fmla="*/ 708421 w 929069"/>
                <a:gd name="connsiteY59" fmla="*/ 139366 h 603899"/>
                <a:gd name="connsiteX60" fmla="*/ 708421 w 929069"/>
                <a:gd name="connsiteY60" fmla="*/ 46451 h 603899"/>
                <a:gd name="connsiteX61" fmla="*/ 882616 w 929069"/>
                <a:gd name="connsiteY61" fmla="*/ 46451 h 603899"/>
                <a:gd name="connsiteX62" fmla="*/ 220649 w 929069"/>
                <a:gd name="connsiteY62" fmla="*/ 46451 h 603899"/>
                <a:gd name="connsiteX63" fmla="*/ 220649 w 929069"/>
                <a:gd name="connsiteY63" fmla="*/ 139355 h 603899"/>
                <a:gd name="connsiteX64" fmla="*/ 46452 w 929069"/>
                <a:gd name="connsiteY64" fmla="*/ 139355 h 603899"/>
                <a:gd name="connsiteX65" fmla="*/ 46452 w 929069"/>
                <a:gd name="connsiteY65" fmla="*/ 46451 h 603899"/>
                <a:gd name="connsiteX66" fmla="*/ 46452 w 929069"/>
                <a:gd name="connsiteY66" fmla="*/ 464534 h 603899"/>
                <a:gd name="connsiteX67" fmla="*/ 220649 w 929069"/>
                <a:gd name="connsiteY67" fmla="*/ 464534 h 603899"/>
                <a:gd name="connsiteX68" fmla="*/ 220649 w 929069"/>
                <a:gd name="connsiteY68" fmla="*/ 557449 h 603899"/>
                <a:gd name="connsiteX69" fmla="*/ 46452 w 929069"/>
                <a:gd name="connsiteY69" fmla="*/ 557449 h 603899"/>
                <a:gd name="connsiteX70" fmla="*/ 708410 w 929069"/>
                <a:gd name="connsiteY70" fmla="*/ 557449 h 603899"/>
                <a:gd name="connsiteX71" fmla="*/ 708410 w 929069"/>
                <a:gd name="connsiteY71" fmla="*/ 464545 h 603899"/>
                <a:gd name="connsiteX72" fmla="*/ 882616 w 929069"/>
                <a:gd name="connsiteY72" fmla="*/ 464545 h 603899"/>
                <a:gd name="connsiteX73" fmla="*/ 882616 w 929069"/>
                <a:gd name="connsiteY73" fmla="*/ 557449 h 60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29069" h="603899">
                  <a:moveTo>
                    <a:pt x="905843" y="0"/>
                  </a:moveTo>
                  <a:lnTo>
                    <a:pt x="23226" y="0"/>
                  </a:lnTo>
                  <a:cubicBezTo>
                    <a:pt x="10383" y="0"/>
                    <a:pt x="0" y="10393"/>
                    <a:pt x="0" y="23224"/>
                  </a:cubicBezTo>
                  <a:lnTo>
                    <a:pt x="0" y="580676"/>
                  </a:lnTo>
                  <a:cubicBezTo>
                    <a:pt x="0" y="593507"/>
                    <a:pt x="10383" y="603900"/>
                    <a:pt x="23226" y="603900"/>
                  </a:cubicBezTo>
                  <a:lnTo>
                    <a:pt x="905843" y="603900"/>
                  </a:lnTo>
                  <a:cubicBezTo>
                    <a:pt x="918688" y="603900"/>
                    <a:pt x="929069" y="593507"/>
                    <a:pt x="929069" y="580676"/>
                  </a:cubicBezTo>
                  <a:lnTo>
                    <a:pt x="929069" y="23224"/>
                  </a:lnTo>
                  <a:cubicBezTo>
                    <a:pt x="929069" y="10393"/>
                    <a:pt x="918677" y="0"/>
                    <a:pt x="905843" y="0"/>
                  </a:cubicBezTo>
                  <a:close/>
                  <a:moveTo>
                    <a:pt x="661957" y="278723"/>
                  </a:moveTo>
                  <a:lnTo>
                    <a:pt x="487762" y="278723"/>
                  </a:lnTo>
                  <a:lnTo>
                    <a:pt x="487762" y="185819"/>
                  </a:lnTo>
                  <a:lnTo>
                    <a:pt x="661957" y="185819"/>
                  </a:lnTo>
                  <a:close/>
                  <a:moveTo>
                    <a:pt x="708410" y="185819"/>
                  </a:moveTo>
                  <a:lnTo>
                    <a:pt x="882616" y="185819"/>
                  </a:lnTo>
                  <a:lnTo>
                    <a:pt x="882616" y="278723"/>
                  </a:lnTo>
                  <a:lnTo>
                    <a:pt x="708410" y="278723"/>
                  </a:lnTo>
                  <a:close/>
                  <a:moveTo>
                    <a:pt x="487762" y="139366"/>
                  </a:moveTo>
                  <a:lnTo>
                    <a:pt x="487762" y="46451"/>
                  </a:lnTo>
                  <a:lnTo>
                    <a:pt x="661957" y="46451"/>
                  </a:lnTo>
                  <a:lnTo>
                    <a:pt x="661957" y="139355"/>
                  </a:lnTo>
                  <a:lnTo>
                    <a:pt x="487762" y="139355"/>
                  </a:lnTo>
                  <a:close/>
                  <a:moveTo>
                    <a:pt x="441309" y="139366"/>
                  </a:moveTo>
                  <a:lnTo>
                    <a:pt x="267100" y="139366"/>
                  </a:lnTo>
                  <a:lnTo>
                    <a:pt x="267100" y="46451"/>
                  </a:lnTo>
                  <a:lnTo>
                    <a:pt x="441309" y="46451"/>
                  </a:lnTo>
                  <a:close/>
                  <a:moveTo>
                    <a:pt x="441309" y="185819"/>
                  </a:moveTo>
                  <a:lnTo>
                    <a:pt x="441309" y="278723"/>
                  </a:lnTo>
                  <a:lnTo>
                    <a:pt x="267100" y="278723"/>
                  </a:lnTo>
                  <a:lnTo>
                    <a:pt x="267100" y="185819"/>
                  </a:lnTo>
                  <a:close/>
                  <a:moveTo>
                    <a:pt x="220649" y="278723"/>
                  </a:moveTo>
                  <a:lnTo>
                    <a:pt x="46452" y="278723"/>
                  </a:lnTo>
                  <a:lnTo>
                    <a:pt x="46452" y="185819"/>
                  </a:lnTo>
                  <a:lnTo>
                    <a:pt x="220649" y="185819"/>
                  </a:lnTo>
                  <a:close/>
                  <a:moveTo>
                    <a:pt x="46452" y="325177"/>
                  </a:moveTo>
                  <a:lnTo>
                    <a:pt x="220649" y="325177"/>
                  </a:lnTo>
                  <a:lnTo>
                    <a:pt x="220649" y="418081"/>
                  </a:lnTo>
                  <a:lnTo>
                    <a:pt x="46452" y="418081"/>
                  </a:lnTo>
                  <a:close/>
                  <a:moveTo>
                    <a:pt x="267100" y="325177"/>
                  </a:moveTo>
                  <a:lnTo>
                    <a:pt x="441309" y="325177"/>
                  </a:lnTo>
                  <a:lnTo>
                    <a:pt x="441309" y="418081"/>
                  </a:lnTo>
                  <a:lnTo>
                    <a:pt x="267100" y="418081"/>
                  </a:lnTo>
                  <a:close/>
                  <a:moveTo>
                    <a:pt x="441309" y="464534"/>
                  </a:moveTo>
                  <a:lnTo>
                    <a:pt x="441309" y="557449"/>
                  </a:lnTo>
                  <a:lnTo>
                    <a:pt x="267100" y="557449"/>
                  </a:lnTo>
                  <a:lnTo>
                    <a:pt x="267100" y="464534"/>
                  </a:lnTo>
                  <a:close/>
                  <a:moveTo>
                    <a:pt x="487762" y="464534"/>
                  </a:moveTo>
                  <a:lnTo>
                    <a:pt x="661957" y="464534"/>
                  </a:lnTo>
                  <a:lnTo>
                    <a:pt x="661957" y="557449"/>
                  </a:lnTo>
                  <a:lnTo>
                    <a:pt x="487762" y="557449"/>
                  </a:lnTo>
                  <a:close/>
                  <a:moveTo>
                    <a:pt x="487762" y="418081"/>
                  </a:moveTo>
                  <a:lnTo>
                    <a:pt x="487762" y="325177"/>
                  </a:lnTo>
                  <a:lnTo>
                    <a:pt x="661957" y="325177"/>
                  </a:lnTo>
                  <a:lnTo>
                    <a:pt x="661957" y="418081"/>
                  </a:lnTo>
                  <a:close/>
                  <a:moveTo>
                    <a:pt x="708410" y="325177"/>
                  </a:moveTo>
                  <a:lnTo>
                    <a:pt x="882616" y="325177"/>
                  </a:lnTo>
                  <a:lnTo>
                    <a:pt x="882616" y="418081"/>
                  </a:lnTo>
                  <a:lnTo>
                    <a:pt x="708410" y="418081"/>
                  </a:lnTo>
                  <a:close/>
                  <a:moveTo>
                    <a:pt x="882616" y="139366"/>
                  </a:moveTo>
                  <a:lnTo>
                    <a:pt x="708421" y="139366"/>
                  </a:lnTo>
                  <a:lnTo>
                    <a:pt x="708421" y="46451"/>
                  </a:lnTo>
                  <a:lnTo>
                    <a:pt x="882616" y="46451"/>
                  </a:lnTo>
                  <a:close/>
                  <a:moveTo>
                    <a:pt x="220649" y="46451"/>
                  </a:moveTo>
                  <a:lnTo>
                    <a:pt x="220649" y="139355"/>
                  </a:lnTo>
                  <a:lnTo>
                    <a:pt x="46452" y="139355"/>
                  </a:lnTo>
                  <a:lnTo>
                    <a:pt x="46452" y="46451"/>
                  </a:lnTo>
                  <a:close/>
                  <a:moveTo>
                    <a:pt x="46452" y="464534"/>
                  </a:moveTo>
                  <a:lnTo>
                    <a:pt x="220649" y="464534"/>
                  </a:lnTo>
                  <a:lnTo>
                    <a:pt x="220649" y="557449"/>
                  </a:lnTo>
                  <a:lnTo>
                    <a:pt x="46452" y="557449"/>
                  </a:lnTo>
                  <a:close/>
                  <a:moveTo>
                    <a:pt x="708410" y="557449"/>
                  </a:moveTo>
                  <a:lnTo>
                    <a:pt x="708410" y="464545"/>
                  </a:lnTo>
                  <a:lnTo>
                    <a:pt x="882616" y="464545"/>
                  </a:lnTo>
                  <a:lnTo>
                    <a:pt x="882616" y="557449"/>
                  </a:lnTo>
                  <a:close/>
                </a:path>
              </a:pathLst>
            </a:custGeom>
            <a:solidFill>
              <a:srgbClr val="FFFFFF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C3405799-B4EE-8098-A1F6-BD2958125215}"/>
                </a:ext>
              </a:extLst>
            </p:cNvPr>
            <p:cNvSpPr/>
            <p:nvPr/>
          </p:nvSpPr>
          <p:spPr>
            <a:xfrm>
              <a:off x="7976039" y="4143262"/>
              <a:ext cx="174208" cy="92904"/>
            </a:xfrm>
            <a:custGeom>
              <a:avLst/>
              <a:gdLst>
                <a:gd name="connsiteX0" fmla="*/ 0 w 174208"/>
                <a:gd name="connsiteY0" fmla="*/ 0 h 92904"/>
                <a:gd name="connsiteX1" fmla="*/ 174209 w 174208"/>
                <a:gd name="connsiteY1" fmla="*/ 0 h 92904"/>
                <a:gd name="connsiteX2" fmla="*/ 174209 w 174208"/>
                <a:gd name="connsiteY2" fmla="*/ 92904 h 92904"/>
                <a:gd name="connsiteX3" fmla="*/ 0 w 174208"/>
                <a:gd name="connsiteY3" fmla="*/ 92904 h 9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208" h="92904">
                  <a:moveTo>
                    <a:pt x="0" y="0"/>
                  </a:moveTo>
                  <a:lnTo>
                    <a:pt x="174209" y="0"/>
                  </a:lnTo>
                  <a:lnTo>
                    <a:pt x="174209" y="92904"/>
                  </a:lnTo>
                  <a:lnTo>
                    <a:pt x="0" y="92904"/>
                  </a:lnTo>
                  <a:close/>
                </a:path>
              </a:pathLst>
            </a:custGeom>
            <a:solidFill>
              <a:srgbClr val="571C73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3531355A-EAB0-9718-133F-931A6817FCD0}"/>
                </a:ext>
              </a:extLst>
            </p:cNvPr>
            <p:cNvSpPr/>
            <p:nvPr/>
          </p:nvSpPr>
          <p:spPr>
            <a:xfrm>
              <a:off x="8417349" y="3864536"/>
              <a:ext cx="174205" cy="92903"/>
            </a:xfrm>
            <a:custGeom>
              <a:avLst/>
              <a:gdLst>
                <a:gd name="connsiteX0" fmla="*/ 0 w 174205"/>
                <a:gd name="connsiteY0" fmla="*/ 0 h 92903"/>
                <a:gd name="connsiteX1" fmla="*/ 174206 w 174205"/>
                <a:gd name="connsiteY1" fmla="*/ 0 h 92903"/>
                <a:gd name="connsiteX2" fmla="*/ 174206 w 174205"/>
                <a:gd name="connsiteY2" fmla="*/ 92904 h 92903"/>
                <a:gd name="connsiteX3" fmla="*/ 0 w 174205"/>
                <a:gd name="connsiteY3" fmla="*/ 92904 h 9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205" h="92903">
                  <a:moveTo>
                    <a:pt x="0" y="0"/>
                  </a:moveTo>
                  <a:lnTo>
                    <a:pt x="174206" y="0"/>
                  </a:lnTo>
                  <a:lnTo>
                    <a:pt x="174206" y="92904"/>
                  </a:lnTo>
                  <a:lnTo>
                    <a:pt x="0" y="92904"/>
                  </a:lnTo>
                  <a:close/>
                </a:path>
              </a:pathLst>
            </a:custGeom>
            <a:solidFill>
              <a:srgbClr val="571C73"/>
            </a:solidFill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grpSp>
        <p:nvGrpSpPr>
          <p:cNvPr id="33" name="Graphique 923">
            <a:extLst>
              <a:ext uri="{FF2B5EF4-FFF2-40B4-BE49-F238E27FC236}">
                <a16:creationId xmlns:a16="http://schemas.microsoft.com/office/drawing/2014/main" id="{66EED535-2C01-A42D-6D9E-5D13125E99B8}"/>
              </a:ext>
            </a:extLst>
          </p:cNvPr>
          <p:cNvGrpSpPr/>
          <p:nvPr/>
        </p:nvGrpSpPr>
        <p:grpSpPr>
          <a:xfrm>
            <a:off x="7603354" y="2188372"/>
            <a:ext cx="749180" cy="1072686"/>
            <a:chOff x="3342474" y="3607191"/>
            <a:chExt cx="417880" cy="598326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26759E91-A835-11A6-992B-C120D6D45FE8}"/>
                </a:ext>
              </a:extLst>
            </p:cNvPr>
            <p:cNvSpPr/>
            <p:nvPr/>
          </p:nvSpPr>
          <p:spPr>
            <a:xfrm>
              <a:off x="3636889" y="3635682"/>
              <a:ext cx="117606" cy="75978"/>
            </a:xfrm>
            <a:custGeom>
              <a:avLst/>
              <a:gdLst>
                <a:gd name="connsiteX0" fmla="*/ 108097 w 117606"/>
                <a:gd name="connsiteY0" fmla="*/ 0 h 75978"/>
                <a:gd name="connsiteX1" fmla="*/ 0 w 117606"/>
                <a:gd name="connsiteY1" fmla="*/ 0 h 75978"/>
                <a:gd name="connsiteX2" fmla="*/ 0 w 117606"/>
                <a:gd name="connsiteY2" fmla="*/ 75978 h 75978"/>
                <a:gd name="connsiteX3" fmla="*/ 108097 w 117606"/>
                <a:gd name="connsiteY3" fmla="*/ 75978 h 75978"/>
                <a:gd name="connsiteX4" fmla="*/ 116592 w 117606"/>
                <a:gd name="connsiteY4" fmla="*/ 62234 h 75978"/>
                <a:gd name="connsiteX5" fmla="*/ 104470 w 117606"/>
                <a:gd name="connsiteY5" fmla="*/ 37989 h 75978"/>
                <a:gd name="connsiteX6" fmla="*/ 116592 w 117606"/>
                <a:gd name="connsiteY6" fmla="*/ 13745 h 75978"/>
                <a:gd name="connsiteX7" fmla="*/ 108097 w 117606"/>
                <a:gd name="connsiteY7" fmla="*/ 0 h 7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606" h="75978">
                  <a:moveTo>
                    <a:pt x="108097" y="0"/>
                  </a:moveTo>
                  <a:lnTo>
                    <a:pt x="0" y="0"/>
                  </a:lnTo>
                  <a:lnTo>
                    <a:pt x="0" y="75978"/>
                  </a:lnTo>
                  <a:lnTo>
                    <a:pt x="108097" y="75978"/>
                  </a:lnTo>
                  <a:cubicBezTo>
                    <a:pt x="115157" y="75978"/>
                    <a:pt x="119750" y="68548"/>
                    <a:pt x="116592" y="62234"/>
                  </a:cubicBezTo>
                  <a:lnTo>
                    <a:pt x="104470" y="37989"/>
                  </a:lnTo>
                  <a:lnTo>
                    <a:pt x="116592" y="13745"/>
                  </a:lnTo>
                  <a:cubicBezTo>
                    <a:pt x="119750" y="7430"/>
                    <a:pt x="115157" y="0"/>
                    <a:pt x="108097" y="0"/>
                  </a:cubicBezTo>
                  <a:close/>
                </a:path>
              </a:pathLst>
            </a:custGeom>
            <a:solidFill>
              <a:srgbClr val="009B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45442318-C8CF-1AAB-4C90-34A51C8EA463}"/>
                </a:ext>
              </a:extLst>
            </p:cNvPr>
            <p:cNvSpPr/>
            <p:nvPr/>
          </p:nvSpPr>
          <p:spPr>
            <a:xfrm>
              <a:off x="3636886" y="3635682"/>
              <a:ext cx="28491" cy="75982"/>
            </a:xfrm>
            <a:custGeom>
              <a:avLst/>
              <a:gdLst>
                <a:gd name="connsiteX0" fmla="*/ 0 w 28491"/>
                <a:gd name="connsiteY0" fmla="*/ 0 h 75982"/>
                <a:gd name="connsiteX1" fmla="*/ 28492 w 28491"/>
                <a:gd name="connsiteY1" fmla="*/ 0 h 75982"/>
                <a:gd name="connsiteX2" fmla="*/ 28492 w 28491"/>
                <a:gd name="connsiteY2" fmla="*/ 75983 h 75982"/>
                <a:gd name="connsiteX3" fmla="*/ 0 w 28491"/>
                <a:gd name="connsiteY3" fmla="*/ 75983 h 7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1" h="75982">
                  <a:moveTo>
                    <a:pt x="0" y="0"/>
                  </a:moveTo>
                  <a:lnTo>
                    <a:pt x="28492" y="0"/>
                  </a:lnTo>
                  <a:lnTo>
                    <a:pt x="28492" y="75983"/>
                  </a:lnTo>
                  <a:lnTo>
                    <a:pt x="0" y="75983"/>
                  </a:lnTo>
                  <a:close/>
                </a:path>
              </a:pathLst>
            </a:custGeom>
            <a:solidFill>
              <a:srgbClr val="027390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671346D5-08EF-20E2-8F2E-159A56300118}"/>
                </a:ext>
              </a:extLst>
            </p:cNvPr>
            <p:cNvSpPr/>
            <p:nvPr/>
          </p:nvSpPr>
          <p:spPr>
            <a:xfrm>
              <a:off x="3627392" y="3607191"/>
              <a:ext cx="18994" cy="427376"/>
            </a:xfrm>
            <a:custGeom>
              <a:avLst/>
              <a:gdLst>
                <a:gd name="connsiteX0" fmla="*/ 9497 w 18994"/>
                <a:gd name="connsiteY0" fmla="*/ 427376 h 427376"/>
                <a:gd name="connsiteX1" fmla="*/ 0 w 18994"/>
                <a:gd name="connsiteY1" fmla="*/ 417879 h 427376"/>
                <a:gd name="connsiteX2" fmla="*/ 0 w 18994"/>
                <a:gd name="connsiteY2" fmla="*/ 9497 h 427376"/>
                <a:gd name="connsiteX3" fmla="*/ 9497 w 18994"/>
                <a:gd name="connsiteY3" fmla="*/ 0 h 427376"/>
                <a:gd name="connsiteX4" fmla="*/ 18995 w 18994"/>
                <a:gd name="connsiteY4" fmla="*/ 9497 h 427376"/>
                <a:gd name="connsiteX5" fmla="*/ 18995 w 18994"/>
                <a:gd name="connsiteY5" fmla="*/ 417879 h 427376"/>
                <a:gd name="connsiteX6" fmla="*/ 9497 w 18994"/>
                <a:gd name="connsiteY6" fmla="*/ 427376 h 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94" h="427376">
                  <a:moveTo>
                    <a:pt x="9497" y="427376"/>
                  </a:moveTo>
                  <a:cubicBezTo>
                    <a:pt x="4248" y="427376"/>
                    <a:pt x="0" y="423128"/>
                    <a:pt x="0" y="417879"/>
                  </a:cubicBezTo>
                  <a:lnTo>
                    <a:pt x="0" y="9497"/>
                  </a:lnTo>
                  <a:cubicBezTo>
                    <a:pt x="0" y="4248"/>
                    <a:pt x="4248" y="0"/>
                    <a:pt x="9497" y="0"/>
                  </a:cubicBezTo>
                  <a:cubicBezTo>
                    <a:pt x="14747" y="0"/>
                    <a:pt x="18995" y="4248"/>
                    <a:pt x="18995" y="9497"/>
                  </a:cubicBezTo>
                  <a:lnTo>
                    <a:pt x="18995" y="417879"/>
                  </a:lnTo>
                  <a:cubicBezTo>
                    <a:pt x="18995" y="423128"/>
                    <a:pt x="14747" y="427376"/>
                    <a:pt x="9497" y="427376"/>
                  </a:cubicBezTo>
                  <a:close/>
                </a:path>
              </a:pathLst>
            </a:custGeom>
            <a:solidFill>
              <a:srgbClr val="7074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D7F72ACB-2E14-7BE1-B737-A50C9D41664E}"/>
                </a:ext>
              </a:extLst>
            </p:cNvPr>
            <p:cNvSpPr/>
            <p:nvPr/>
          </p:nvSpPr>
          <p:spPr>
            <a:xfrm>
              <a:off x="3627397" y="3835127"/>
              <a:ext cx="18994" cy="28491"/>
            </a:xfrm>
            <a:custGeom>
              <a:avLst/>
              <a:gdLst>
                <a:gd name="connsiteX0" fmla="*/ 0 w 18994"/>
                <a:gd name="connsiteY0" fmla="*/ 0 h 28491"/>
                <a:gd name="connsiteX1" fmla="*/ 18995 w 18994"/>
                <a:gd name="connsiteY1" fmla="*/ 0 h 28491"/>
                <a:gd name="connsiteX2" fmla="*/ 18995 w 18994"/>
                <a:gd name="connsiteY2" fmla="*/ 28492 h 28491"/>
                <a:gd name="connsiteX3" fmla="*/ 0 w 18994"/>
                <a:gd name="connsiteY3" fmla="*/ 28492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94" h="28491">
                  <a:moveTo>
                    <a:pt x="0" y="0"/>
                  </a:moveTo>
                  <a:lnTo>
                    <a:pt x="18995" y="0"/>
                  </a:lnTo>
                  <a:lnTo>
                    <a:pt x="18995" y="28492"/>
                  </a:lnTo>
                  <a:lnTo>
                    <a:pt x="0" y="28492"/>
                  </a:lnTo>
                  <a:close/>
                </a:path>
              </a:pathLst>
            </a:custGeom>
            <a:solidFill>
              <a:srgbClr val="5B5D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C58BC7A3-8B34-531A-C41E-B7AAF86E6D73}"/>
                </a:ext>
              </a:extLst>
            </p:cNvPr>
            <p:cNvSpPr/>
            <p:nvPr/>
          </p:nvSpPr>
          <p:spPr>
            <a:xfrm>
              <a:off x="3513423" y="3968080"/>
              <a:ext cx="75982" cy="85471"/>
            </a:xfrm>
            <a:custGeom>
              <a:avLst/>
              <a:gdLst>
                <a:gd name="connsiteX0" fmla="*/ 0 w 75982"/>
                <a:gd name="connsiteY0" fmla="*/ 0 h 85471"/>
                <a:gd name="connsiteX1" fmla="*/ 75983 w 75982"/>
                <a:gd name="connsiteY1" fmla="*/ 0 h 85471"/>
                <a:gd name="connsiteX2" fmla="*/ 75983 w 75982"/>
                <a:gd name="connsiteY2" fmla="*/ 85472 h 85471"/>
                <a:gd name="connsiteX3" fmla="*/ 0 w 75982"/>
                <a:gd name="connsiteY3" fmla="*/ 85472 h 8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82" h="85471">
                  <a:moveTo>
                    <a:pt x="0" y="0"/>
                  </a:moveTo>
                  <a:lnTo>
                    <a:pt x="75983" y="0"/>
                  </a:lnTo>
                  <a:lnTo>
                    <a:pt x="75983" y="85472"/>
                  </a:lnTo>
                  <a:lnTo>
                    <a:pt x="0" y="85472"/>
                  </a:lnTo>
                  <a:close/>
                </a:path>
              </a:pathLst>
            </a:custGeom>
            <a:solidFill>
              <a:srgbClr val="7F8499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A0034140-2D9D-3119-E390-A103B7C7438A}"/>
                </a:ext>
              </a:extLst>
            </p:cNvPr>
            <p:cNvSpPr/>
            <p:nvPr/>
          </p:nvSpPr>
          <p:spPr>
            <a:xfrm>
              <a:off x="3546666" y="3996577"/>
              <a:ext cx="9497" cy="56982"/>
            </a:xfrm>
            <a:custGeom>
              <a:avLst/>
              <a:gdLst>
                <a:gd name="connsiteX0" fmla="*/ 4748 w 9497"/>
                <a:gd name="connsiteY0" fmla="*/ 0 h 56982"/>
                <a:gd name="connsiteX1" fmla="*/ 0 w 9497"/>
                <a:gd name="connsiteY1" fmla="*/ 4748 h 56982"/>
                <a:gd name="connsiteX2" fmla="*/ 0 w 9497"/>
                <a:gd name="connsiteY2" fmla="*/ 56982 h 56982"/>
                <a:gd name="connsiteX3" fmla="*/ 9497 w 9497"/>
                <a:gd name="connsiteY3" fmla="*/ 56982 h 56982"/>
                <a:gd name="connsiteX4" fmla="*/ 9497 w 9497"/>
                <a:gd name="connsiteY4" fmla="*/ 4749 h 56982"/>
                <a:gd name="connsiteX5" fmla="*/ 4748 w 9497"/>
                <a:gd name="connsiteY5" fmla="*/ 0 h 5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97" h="56982">
                  <a:moveTo>
                    <a:pt x="4748" y="0"/>
                  </a:moveTo>
                  <a:cubicBezTo>
                    <a:pt x="2126" y="0"/>
                    <a:pt x="0" y="2126"/>
                    <a:pt x="0" y="4748"/>
                  </a:cubicBezTo>
                  <a:lnTo>
                    <a:pt x="0" y="56982"/>
                  </a:lnTo>
                  <a:lnTo>
                    <a:pt x="9497" y="56982"/>
                  </a:lnTo>
                  <a:lnTo>
                    <a:pt x="9497" y="4749"/>
                  </a:lnTo>
                  <a:cubicBezTo>
                    <a:pt x="9497" y="2127"/>
                    <a:pt x="7370" y="0"/>
                    <a:pt x="4748" y="0"/>
                  </a:cubicBezTo>
                  <a:close/>
                </a:path>
              </a:pathLst>
            </a:custGeom>
            <a:solidFill>
              <a:srgbClr val="7074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D25D4D72-E4D3-A563-2EF9-CCC928993BC7}"/>
                </a:ext>
              </a:extLst>
            </p:cNvPr>
            <p:cNvSpPr/>
            <p:nvPr/>
          </p:nvSpPr>
          <p:spPr>
            <a:xfrm>
              <a:off x="3494429" y="3816129"/>
              <a:ext cx="113967" cy="66480"/>
            </a:xfrm>
            <a:custGeom>
              <a:avLst/>
              <a:gdLst>
                <a:gd name="connsiteX0" fmla="*/ 103469 w 113967"/>
                <a:gd name="connsiteY0" fmla="*/ 38610 h 66480"/>
                <a:gd name="connsiteX1" fmla="*/ 81229 w 113967"/>
                <a:gd name="connsiteY1" fmla="*/ 27489 h 66480"/>
                <a:gd name="connsiteX2" fmla="*/ 75979 w 113967"/>
                <a:gd name="connsiteY2" fmla="*/ 18995 h 66480"/>
                <a:gd name="connsiteX3" fmla="*/ 75979 w 113967"/>
                <a:gd name="connsiteY3" fmla="*/ 0 h 66480"/>
                <a:gd name="connsiteX4" fmla="*/ 37990 w 113967"/>
                <a:gd name="connsiteY4" fmla="*/ 0 h 66480"/>
                <a:gd name="connsiteX5" fmla="*/ 37990 w 113967"/>
                <a:gd name="connsiteY5" fmla="*/ 18995 h 66480"/>
                <a:gd name="connsiteX6" fmla="*/ 32740 w 113967"/>
                <a:gd name="connsiteY6" fmla="*/ 27489 h 66480"/>
                <a:gd name="connsiteX7" fmla="*/ 10500 w 113967"/>
                <a:gd name="connsiteY7" fmla="*/ 38610 h 66480"/>
                <a:gd name="connsiteX8" fmla="*/ 0 w 113967"/>
                <a:gd name="connsiteY8" fmla="*/ 55598 h 66480"/>
                <a:gd name="connsiteX9" fmla="*/ 0 w 113967"/>
                <a:gd name="connsiteY9" fmla="*/ 66481 h 66480"/>
                <a:gd name="connsiteX10" fmla="*/ 113967 w 113967"/>
                <a:gd name="connsiteY10" fmla="*/ 66481 h 66480"/>
                <a:gd name="connsiteX11" fmla="*/ 113967 w 113967"/>
                <a:gd name="connsiteY11" fmla="*/ 55598 h 66480"/>
                <a:gd name="connsiteX12" fmla="*/ 103469 w 113967"/>
                <a:gd name="connsiteY12" fmla="*/ 38610 h 66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0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1"/>
                  </a:lnTo>
                  <a:lnTo>
                    <a:pt x="113967" y="66481"/>
                  </a:lnTo>
                  <a:lnTo>
                    <a:pt x="113967" y="55598"/>
                  </a:lnTo>
                  <a:cubicBezTo>
                    <a:pt x="113968" y="48404"/>
                    <a:pt x="109904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3B9BC9E4-96A2-B97F-93D2-A2376FAE63AA}"/>
                </a:ext>
              </a:extLst>
            </p:cNvPr>
            <p:cNvSpPr/>
            <p:nvPr/>
          </p:nvSpPr>
          <p:spPr>
            <a:xfrm>
              <a:off x="3494430" y="3846077"/>
              <a:ext cx="113967" cy="131506"/>
            </a:xfrm>
            <a:custGeom>
              <a:avLst/>
              <a:gdLst>
                <a:gd name="connsiteX0" fmla="*/ 103467 w 113967"/>
                <a:gd name="connsiteY0" fmla="*/ 8662 h 131506"/>
                <a:gd name="connsiteX1" fmla="*/ 86144 w 113967"/>
                <a:gd name="connsiteY1" fmla="*/ 0 h 131506"/>
                <a:gd name="connsiteX2" fmla="*/ 56984 w 113967"/>
                <a:gd name="connsiteY2" fmla="*/ 13912 h 131506"/>
                <a:gd name="connsiteX3" fmla="*/ 27823 w 113967"/>
                <a:gd name="connsiteY3" fmla="*/ 0 h 131506"/>
                <a:gd name="connsiteX4" fmla="*/ 10500 w 113967"/>
                <a:gd name="connsiteY4" fmla="*/ 8662 h 131506"/>
                <a:gd name="connsiteX5" fmla="*/ 0 w 113967"/>
                <a:gd name="connsiteY5" fmla="*/ 25651 h 131506"/>
                <a:gd name="connsiteX6" fmla="*/ 0 w 113967"/>
                <a:gd name="connsiteY6" fmla="*/ 131507 h 131506"/>
                <a:gd name="connsiteX7" fmla="*/ 113967 w 113967"/>
                <a:gd name="connsiteY7" fmla="*/ 131507 h 131506"/>
                <a:gd name="connsiteX8" fmla="*/ 113967 w 113967"/>
                <a:gd name="connsiteY8" fmla="*/ 25651 h 131506"/>
                <a:gd name="connsiteX9" fmla="*/ 103467 w 113967"/>
                <a:gd name="connsiteY9" fmla="*/ 8662 h 13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967" h="131506">
                  <a:moveTo>
                    <a:pt x="103467" y="8662"/>
                  </a:moveTo>
                  <a:lnTo>
                    <a:pt x="86144" y="0"/>
                  </a:lnTo>
                  <a:cubicBezTo>
                    <a:pt x="79175" y="8428"/>
                    <a:pt x="68773" y="13912"/>
                    <a:pt x="56984" y="13912"/>
                  </a:cubicBezTo>
                  <a:cubicBezTo>
                    <a:pt x="45194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131507"/>
                  </a:lnTo>
                  <a:lnTo>
                    <a:pt x="113967" y="131507"/>
                  </a:lnTo>
                  <a:lnTo>
                    <a:pt x="113967" y="25651"/>
                  </a:lnTo>
                  <a:cubicBezTo>
                    <a:pt x="113967" y="18456"/>
                    <a:pt x="109903" y="11879"/>
                    <a:pt x="103467" y="8662"/>
                  </a:cubicBezTo>
                  <a:close/>
                </a:path>
              </a:pathLst>
            </a:custGeom>
            <a:solidFill>
              <a:srgbClr val="9258A2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0CF025DF-ED3B-F89B-F88E-27237C036CAB}"/>
                </a:ext>
              </a:extLst>
            </p:cNvPr>
            <p:cNvSpPr/>
            <p:nvPr/>
          </p:nvSpPr>
          <p:spPr>
            <a:xfrm>
              <a:off x="3530582" y="3816131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DF2F8AA3-252A-3A0B-8568-74405810B8B0}"/>
                </a:ext>
              </a:extLst>
            </p:cNvPr>
            <p:cNvSpPr/>
            <p:nvPr/>
          </p:nvSpPr>
          <p:spPr>
            <a:xfrm>
              <a:off x="3513425" y="3740152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6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16323FD0-F3AF-2433-5849-7B843C6616E4}"/>
                </a:ext>
              </a:extLst>
            </p:cNvPr>
            <p:cNvSpPr/>
            <p:nvPr/>
          </p:nvSpPr>
          <p:spPr>
            <a:xfrm>
              <a:off x="3513425" y="3740152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0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9F65FB7D-7C6E-3859-BE6E-3FC869524C70}"/>
                </a:ext>
              </a:extLst>
            </p:cNvPr>
            <p:cNvSpPr/>
            <p:nvPr/>
          </p:nvSpPr>
          <p:spPr>
            <a:xfrm>
              <a:off x="3513425" y="3740152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5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AB9BC5F7-E726-2692-EB78-0EAEF9FC7638}"/>
                </a:ext>
              </a:extLst>
            </p:cNvPr>
            <p:cNvSpPr/>
            <p:nvPr/>
          </p:nvSpPr>
          <p:spPr>
            <a:xfrm>
              <a:off x="3513425" y="3740152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  <a:gd name="connsiteX7" fmla="*/ 28492 w 52234"/>
                <a:gd name="connsiteY7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47" name="Graphique 923">
              <a:extLst>
                <a:ext uri="{FF2B5EF4-FFF2-40B4-BE49-F238E27FC236}">
                  <a16:creationId xmlns:a16="http://schemas.microsoft.com/office/drawing/2014/main" id="{88B932CD-4FD1-22F5-DA37-46D6FB3733AB}"/>
                </a:ext>
              </a:extLst>
            </p:cNvPr>
            <p:cNvGrpSpPr/>
            <p:nvPr/>
          </p:nvGrpSpPr>
          <p:grpSpPr>
            <a:xfrm>
              <a:off x="3503928" y="3977583"/>
              <a:ext cx="94972" cy="28491"/>
              <a:chOff x="3503928" y="3977583"/>
              <a:chExt cx="94972" cy="28491"/>
            </a:xfrm>
            <a:solidFill>
              <a:srgbClr val="F0C087"/>
            </a:solidFill>
          </p:grpSpPr>
          <p:sp>
            <p:nvSpPr>
              <p:cNvPr id="123" name="Forme libre : forme 122">
                <a:extLst>
                  <a:ext uri="{FF2B5EF4-FFF2-40B4-BE49-F238E27FC236}">
                    <a16:creationId xmlns:a16="http://schemas.microsoft.com/office/drawing/2014/main" id="{3AFC59B2-8FCB-1565-4276-14686C5E1B21}"/>
                  </a:ext>
                </a:extLst>
              </p:cNvPr>
              <p:cNvSpPr/>
              <p:nvPr/>
            </p:nvSpPr>
            <p:spPr>
              <a:xfrm>
                <a:off x="3503928" y="3977583"/>
                <a:ext cx="18994" cy="28491"/>
              </a:xfrm>
              <a:custGeom>
                <a:avLst/>
                <a:gdLst>
                  <a:gd name="connsiteX0" fmla="*/ 15199 w 18994"/>
                  <a:gd name="connsiteY0" fmla="*/ 28492 h 28491"/>
                  <a:gd name="connsiteX1" fmla="*/ 9497 w 18994"/>
                  <a:gd name="connsiteY1" fmla="*/ 28492 h 28491"/>
                  <a:gd name="connsiteX2" fmla="*/ 0 w 18994"/>
                  <a:gd name="connsiteY2" fmla="*/ 18995 h 28491"/>
                  <a:gd name="connsiteX3" fmla="*/ 0 w 18994"/>
                  <a:gd name="connsiteY3" fmla="*/ 0 h 28491"/>
                  <a:gd name="connsiteX4" fmla="*/ 18995 w 18994"/>
                  <a:gd name="connsiteY4" fmla="*/ 0 h 28491"/>
                  <a:gd name="connsiteX5" fmla="*/ 18995 w 18994"/>
                  <a:gd name="connsiteY5" fmla="*/ 24696 h 28491"/>
                  <a:gd name="connsiteX6" fmla="*/ 15199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15199" y="28492"/>
                    </a:moveTo>
                    <a:lnTo>
                      <a:pt x="9497" y="28492"/>
                    </a:lnTo>
                    <a:cubicBezTo>
                      <a:pt x="4253" y="28492"/>
                      <a:pt x="0" y="24239"/>
                      <a:pt x="0" y="18995"/>
                    </a:cubicBezTo>
                    <a:lnTo>
                      <a:pt x="0" y="0"/>
                    </a:lnTo>
                    <a:lnTo>
                      <a:pt x="18995" y="0"/>
                    </a:lnTo>
                    <a:lnTo>
                      <a:pt x="18995" y="24696"/>
                    </a:lnTo>
                    <a:cubicBezTo>
                      <a:pt x="18995" y="26793"/>
                      <a:pt x="17295" y="28492"/>
                      <a:pt x="15199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24" name="Forme libre : forme 123">
                <a:extLst>
                  <a:ext uri="{FF2B5EF4-FFF2-40B4-BE49-F238E27FC236}">
                    <a16:creationId xmlns:a16="http://schemas.microsoft.com/office/drawing/2014/main" id="{2B7EF436-9D6C-CAB7-8EFC-AF33638C7499}"/>
                  </a:ext>
                </a:extLst>
              </p:cNvPr>
              <p:cNvSpPr/>
              <p:nvPr/>
            </p:nvSpPr>
            <p:spPr>
              <a:xfrm>
                <a:off x="3579906" y="3977583"/>
                <a:ext cx="18994" cy="28491"/>
              </a:xfrm>
              <a:custGeom>
                <a:avLst/>
                <a:gdLst>
                  <a:gd name="connsiteX0" fmla="*/ 3796 w 18994"/>
                  <a:gd name="connsiteY0" fmla="*/ 28492 h 28491"/>
                  <a:gd name="connsiteX1" fmla="*/ 9497 w 18994"/>
                  <a:gd name="connsiteY1" fmla="*/ 28492 h 28491"/>
                  <a:gd name="connsiteX2" fmla="*/ 18995 w 18994"/>
                  <a:gd name="connsiteY2" fmla="*/ 18995 h 28491"/>
                  <a:gd name="connsiteX3" fmla="*/ 18995 w 18994"/>
                  <a:gd name="connsiteY3" fmla="*/ 0 h 28491"/>
                  <a:gd name="connsiteX4" fmla="*/ 0 w 18994"/>
                  <a:gd name="connsiteY4" fmla="*/ 0 h 28491"/>
                  <a:gd name="connsiteX5" fmla="*/ 0 w 18994"/>
                  <a:gd name="connsiteY5" fmla="*/ 24696 h 28491"/>
                  <a:gd name="connsiteX6" fmla="*/ 3796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3796" y="28492"/>
                    </a:moveTo>
                    <a:lnTo>
                      <a:pt x="9497" y="28492"/>
                    </a:lnTo>
                    <a:cubicBezTo>
                      <a:pt x="14742" y="28492"/>
                      <a:pt x="18995" y="24239"/>
                      <a:pt x="18995" y="18995"/>
                    </a:cubicBezTo>
                    <a:lnTo>
                      <a:pt x="18995" y="0"/>
                    </a:lnTo>
                    <a:lnTo>
                      <a:pt x="0" y="0"/>
                    </a:lnTo>
                    <a:lnTo>
                      <a:pt x="0" y="24696"/>
                    </a:lnTo>
                    <a:cubicBezTo>
                      <a:pt x="0" y="26793"/>
                      <a:pt x="1699" y="28492"/>
                      <a:pt x="3796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grpSp>
          <p:nvGrpSpPr>
            <p:cNvPr id="48" name="Graphique 923">
              <a:extLst>
                <a:ext uri="{FF2B5EF4-FFF2-40B4-BE49-F238E27FC236}">
                  <a16:creationId xmlns:a16="http://schemas.microsoft.com/office/drawing/2014/main" id="{42AF7C16-9B87-9F2F-8169-31DCD821D15D}"/>
                </a:ext>
              </a:extLst>
            </p:cNvPr>
            <p:cNvGrpSpPr/>
            <p:nvPr/>
          </p:nvGrpSpPr>
          <p:grpSpPr>
            <a:xfrm>
              <a:off x="3494430" y="3862964"/>
              <a:ext cx="113967" cy="124116"/>
              <a:chOff x="3494430" y="3862964"/>
              <a:chExt cx="113967" cy="124116"/>
            </a:xfrm>
            <a:solidFill>
              <a:srgbClr val="FFDC64"/>
            </a:solidFill>
          </p:grpSpPr>
          <p:sp>
            <p:nvSpPr>
              <p:cNvPr id="121" name="Forme libre : forme 120">
                <a:extLst>
                  <a:ext uri="{FF2B5EF4-FFF2-40B4-BE49-F238E27FC236}">
                    <a16:creationId xmlns:a16="http://schemas.microsoft.com/office/drawing/2014/main" id="{42CD7C46-2CC2-2799-EDDB-576C835186C2}"/>
                  </a:ext>
                </a:extLst>
              </p:cNvPr>
              <p:cNvSpPr/>
              <p:nvPr/>
            </p:nvSpPr>
            <p:spPr>
              <a:xfrm>
                <a:off x="3494430" y="3862964"/>
                <a:ext cx="28491" cy="124116"/>
              </a:xfrm>
              <a:custGeom>
                <a:avLst/>
                <a:gdLst>
                  <a:gd name="connsiteX0" fmla="*/ 20894 w 28491"/>
                  <a:gd name="connsiteY0" fmla="*/ 13947 h 124116"/>
                  <a:gd name="connsiteX1" fmla="*/ 2296 w 28491"/>
                  <a:gd name="connsiteY1" fmla="*/ 0 h 124116"/>
                  <a:gd name="connsiteX2" fmla="*/ 0 w 28491"/>
                  <a:gd name="connsiteY2" fmla="*/ 8763 h 124116"/>
                  <a:gd name="connsiteX3" fmla="*/ 0 w 28491"/>
                  <a:gd name="connsiteY3" fmla="*/ 114619 h 124116"/>
                  <a:gd name="connsiteX4" fmla="*/ 9497 w 28491"/>
                  <a:gd name="connsiteY4" fmla="*/ 124117 h 124116"/>
                  <a:gd name="connsiteX5" fmla="*/ 18995 w 28491"/>
                  <a:gd name="connsiteY5" fmla="*/ 124117 h 124116"/>
                  <a:gd name="connsiteX6" fmla="*/ 28492 w 28491"/>
                  <a:gd name="connsiteY6" fmla="*/ 114619 h 124116"/>
                  <a:gd name="connsiteX7" fmla="*/ 28492 w 28491"/>
                  <a:gd name="connsiteY7" fmla="*/ 29145 h 124116"/>
                  <a:gd name="connsiteX8" fmla="*/ 20894 w 28491"/>
                  <a:gd name="connsiteY8" fmla="*/ 13947 h 1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6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114619"/>
                    </a:lnTo>
                    <a:cubicBezTo>
                      <a:pt x="0" y="119864"/>
                      <a:pt x="4253" y="124117"/>
                      <a:pt x="9497" y="124117"/>
                    </a:cubicBezTo>
                    <a:lnTo>
                      <a:pt x="18995" y="124117"/>
                    </a:lnTo>
                    <a:cubicBezTo>
                      <a:pt x="24239" y="124117"/>
                      <a:pt x="28492" y="119864"/>
                      <a:pt x="28492" y="114619"/>
                    </a:cubicBezTo>
                    <a:lnTo>
                      <a:pt x="28492" y="29145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582974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22" name="Forme libre : forme 121">
                <a:extLst>
                  <a:ext uri="{FF2B5EF4-FFF2-40B4-BE49-F238E27FC236}">
                    <a16:creationId xmlns:a16="http://schemas.microsoft.com/office/drawing/2014/main" id="{2B9D227D-A143-B0E4-7619-D478EDA66725}"/>
                  </a:ext>
                </a:extLst>
              </p:cNvPr>
              <p:cNvSpPr/>
              <p:nvPr/>
            </p:nvSpPr>
            <p:spPr>
              <a:xfrm>
                <a:off x="3579906" y="3862965"/>
                <a:ext cx="28491" cy="124115"/>
              </a:xfrm>
              <a:custGeom>
                <a:avLst/>
                <a:gdLst>
                  <a:gd name="connsiteX0" fmla="*/ 7598 w 28491"/>
                  <a:gd name="connsiteY0" fmla="*/ 13946 h 124115"/>
                  <a:gd name="connsiteX1" fmla="*/ 0 w 28491"/>
                  <a:gd name="connsiteY1" fmla="*/ 29143 h 124115"/>
                  <a:gd name="connsiteX2" fmla="*/ 0 w 28491"/>
                  <a:gd name="connsiteY2" fmla="*/ 114618 h 124115"/>
                  <a:gd name="connsiteX3" fmla="*/ 9497 w 28491"/>
                  <a:gd name="connsiteY3" fmla="*/ 124115 h 124115"/>
                  <a:gd name="connsiteX4" fmla="*/ 18995 w 28491"/>
                  <a:gd name="connsiteY4" fmla="*/ 124115 h 124115"/>
                  <a:gd name="connsiteX5" fmla="*/ 28492 w 28491"/>
                  <a:gd name="connsiteY5" fmla="*/ 114618 h 124115"/>
                  <a:gd name="connsiteX6" fmla="*/ 28492 w 28491"/>
                  <a:gd name="connsiteY6" fmla="*/ 8763 h 124115"/>
                  <a:gd name="connsiteX7" fmla="*/ 26195 w 28491"/>
                  <a:gd name="connsiteY7" fmla="*/ 0 h 124115"/>
                  <a:gd name="connsiteX8" fmla="*/ 7598 w 28491"/>
                  <a:gd name="connsiteY8" fmla="*/ 13946 h 12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5">
                    <a:moveTo>
                      <a:pt x="7598" y="13946"/>
                    </a:moveTo>
                    <a:cubicBezTo>
                      <a:pt x="2815" y="17534"/>
                      <a:pt x="0" y="23164"/>
                      <a:pt x="0" y="29143"/>
                    </a:cubicBezTo>
                    <a:lnTo>
                      <a:pt x="0" y="114618"/>
                    </a:lnTo>
                    <a:cubicBezTo>
                      <a:pt x="0" y="119863"/>
                      <a:pt x="4253" y="124115"/>
                      <a:pt x="9497" y="124115"/>
                    </a:cubicBezTo>
                    <a:lnTo>
                      <a:pt x="18995" y="124115"/>
                    </a:lnTo>
                    <a:cubicBezTo>
                      <a:pt x="24239" y="124115"/>
                      <a:pt x="28492" y="119863"/>
                      <a:pt x="28492" y="114618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5" y="0"/>
                    </a:cubicBezTo>
                    <a:lnTo>
                      <a:pt x="7598" y="13946"/>
                    </a:lnTo>
                    <a:close/>
                  </a:path>
                </a:pathLst>
              </a:custGeom>
              <a:solidFill>
                <a:srgbClr val="582974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FD828AB4-2018-6F08-3625-D76C78977167}"/>
                </a:ext>
              </a:extLst>
            </p:cNvPr>
            <p:cNvSpPr/>
            <p:nvPr/>
          </p:nvSpPr>
          <p:spPr>
            <a:xfrm>
              <a:off x="3570407" y="3968086"/>
              <a:ext cx="113967" cy="66482"/>
            </a:xfrm>
            <a:custGeom>
              <a:avLst/>
              <a:gdLst>
                <a:gd name="connsiteX0" fmla="*/ 103469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9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8" y="48404"/>
                    <a:pt x="109904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9126E9AF-F73E-78F0-88C5-A3784E1D75FC}"/>
                </a:ext>
              </a:extLst>
            </p:cNvPr>
            <p:cNvSpPr/>
            <p:nvPr/>
          </p:nvSpPr>
          <p:spPr>
            <a:xfrm>
              <a:off x="3570409" y="3998034"/>
              <a:ext cx="113967" cy="131506"/>
            </a:xfrm>
            <a:custGeom>
              <a:avLst/>
              <a:gdLst>
                <a:gd name="connsiteX0" fmla="*/ 103467 w 113967"/>
                <a:gd name="connsiteY0" fmla="*/ 8662 h 131506"/>
                <a:gd name="connsiteX1" fmla="*/ 86144 w 113967"/>
                <a:gd name="connsiteY1" fmla="*/ 0 h 131506"/>
                <a:gd name="connsiteX2" fmla="*/ 56984 w 113967"/>
                <a:gd name="connsiteY2" fmla="*/ 13912 h 131506"/>
                <a:gd name="connsiteX3" fmla="*/ 27823 w 113967"/>
                <a:gd name="connsiteY3" fmla="*/ 0 h 131506"/>
                <a:gd name="connsiteX4" fmla="*/ 10500 w 113967"/>
                <a:gd name="connsiteY4" fmla="*/ 8662 h 131506"/>
                <a:gd name="connsiteX5" fmla="*/ 0 w 113967"/>
                <a:gd name="connsiteY5" fmla="*/ 25651 h 131506"/>
                <a:gd name="connsiteX6" fmla="*/ 0 w 113967"/>
                <a:gd name="connsiteY6" fmla="*/ 122010 h 131506"/>
                <a:gd name="connsiteX7" fmla="*/ 9497 w 113967"/>
                <a:gd name="connsiteY7" fmla="*/ 131507 h 131506"/>
                <a:gd name="connsiteX8" fmla="*/ 104470 w 113967"/>
                <a:gd name="connsiteY8" fmla="*/ 131507 h 131506"/>
                <a:gd name="connsiteX9" fmla="*/ 113967 w 113967"/>
                <a:gd name="connsiteY9" fmla="*/ 122010 h 131506"/>
                <a:gd name="connsiteX10" fmla="*/ 113967 w 113967"/>
                <a:gd name="connsiteY10" fmla="*/ 25651 h 131506"/>
                <a:gd name="connsiteX11" fmla="*/ 103467 w 113967"/>
                <a:gd name="connsiteY11" fmla="*/ 8662 h 13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967" h="131506">
                  <a:moveTo>
                    <a:pt x="103467" y="8662"/>
                  </a:moveTo>
                  <a:lnTo>
                    <a:pt x="86144" y="0"/>
                  </a:lnTo>
                  <a:cubicBezTo>
                    <a:pt x="79176" y="8428"/>
                    <a:pt x="68773" y="13912"/>
                    <a:pt x="56984" y="13912"/>
                  </a:cubicBezTo>
                  <a:cubicBezTo>
                    <a:pt x="45194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122010"/>
                  </a:lnTo>
                  <a:cubicBezTo>
                    <a:pt x="0" y="127254"/>
                    <a:pt x="4253" y="131507"/>
                    <a:pt x="9497" y="131507"/>
                  </a:cubicBezTo>
                  <a:lnTo>
                    <a:pt x="104470" y="131507"/>
                  </a:lnTo>
                  <a:cubicBezTo>
                    <a:pt x="109715" y="131507"/>
                    <a:pt x="113967" y="127254"/>
                    <a:pt x="113967" y="122010"/>
                  </a:cubicBezTo>
                  <a:lnTo>
                    <a:pt x="113967" y="25651"/>
                  </a:lnTo>
                  <a:cubicBezTo>
                    <a:pt x="113967" y="18456"/>
                    <a:pt x="109903" y="11879"/>
                    <a:pt x="103467" y="8662"/>
                  </a:cubicBezTo>
                  <a:close/>
                </a:path>
              </a:pathLst>
            </a:custGeom>
            <a:solidFill>
              <a:srgbClr val="B4E6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595E1EF4-044F-7E54-B2F7-CEB2518BD886}"/>
                </a:ext>
              </a:extLst>
            </p:cNvPr>
            <p:cNvSpPr/>
            <p:nvPr/>
          </p:nvSpPr>
          <p:spPr>
            <a:xfrm>
              <a:off x="3606561" y="3968086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E6CA3912-8504-E518-72C3-66B7686D748E}"/>
                </a:ext>
              </a:extLst>
            </p:cNvPr>
            <p:cNvSpPr/>
            <p:nvPr/>
          </p:nvSpPr>
          <p:spPr>
            <a:xfrm>
              <a:off x="3589403" y="3892108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5AFD0F54-217C-34B8-2AD6-97A3AB3812C0}"/>
                </a:ext>
              </a:extLst>
            </p:cNvPr>
            <p:cNvSpPr/>
            <p:nvPr/>
          </p:nvSpPr>
          <p:spPr>
            <a:xfrm>
              <a:off x="3589403" y="3892108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C6A9C9AF-F51D-3F85-2040-3703229BA28C}"/>
                </a:ext>
              </a:extLst>
            </p:cNvPr>
            <p:cNvSpPr/>
            <p:nvPr/>
          </p:nvSpPr>
          <p:spPr>
            <a:xfrm>
              <a:off x="3589403" y="3892108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1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C58FC671-BD9E-6565-3131-288D28EA4307}"/>
                </a:ext>
              </a:extLst>
            </p:cNvPr>
            <p:cNvSpPr/>
            <p:nvPr/>
          </p:nvSpPr>
          <p:spPr>
            <a:xfrm>
              <a:off x="3589403" y="3892108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56" name="Graphique 923">
              <a:extLst>
                <a:ext uri="{FF2B5EF4-FFF2-40B4-BE49-F238E27FC236}">
                  <a16:creationId xmlns:a16="http://schemas.microsoft.com/office/drawing/2014/main" id="{0613A9D7-613F-50A5-9AC9-856A8EB86102}"/>
                </a:ext>
              </a:extLst>
            </p:cNvPr>
            <p:cNvGrpSpPr/>
            <p:nvPr/>
          </p:nvGrpSpPr>
          <p:grpSpPr>
            <a:xfrm>
              <a:off x="3570409" y="4014920"/>
              <a:ext cx="113967" cy="114619"/>
              <a:chOff x="3570409" y="4014920"/>
              <a:chExt cx="113967" cy="114619"/>
            </a:xfrm>
            <a:solidFill>
              <a:srgbClr val="A0D755"/>
            </a:solidFill>
          </p:grpSpPr>
          <p:sp>
            <p:nvSpPr>
              <p:cNvPr id="119" name="Forme libre : forme 118">
                <a:extLst>
                  <a:ext uri="{FF2B5EF4-FFF2-40B4-BE49-F238E27FC236}">
                    <a16:creationId xmlns:a16="http://schemas.microsoft.com/office/drawing/2014/main" id="{559388BE-8DC8-1418-38DE-FB128CF718BB}"/>
                  </a:ext>
                </a:extLst>
              </p:cNvPr>
              <p:cNvSpPr/>
              <p:nvPr/>
            </p:nvSpPr>
            <p:spPr>
              <a:xfrm>
                <a:off x="3570409" y="4014920"/>
                <a:ext cx="28491" cy="114619"/>
              </a:xfrm>
              <a:custGeom>
                <a:avLst/>
                <a:gdLst>
                  <a:gd name="connsiteX0" fmla="*/ 20894 w 28491"/>
                  <a:gd name="connsiteY0" fmla="*/ 13947 h 114619"/>
                  <a:gd name="connsiteX1" fmla="*/ 2296 w 28491"/>
                  <a:gd name="connsiteY1" fmla="*/ 0 h 114619"/>
                  <a:gd name="connsiteX2" fmla="*/ 0 w 28491"/>
                  <a:gd name="connsiteY2" fmla="*/ 8763 h 114619"/>
                  <a:gd name="connsiteX3" fmla="*/ 0 w 28491"/>
                  <a:gd name="connsiteY3" fmla="*/ 105122 h 114619"/>
                  <a:gd name="connsiteX4" fmla="*/ 9497 w 28491"/>
                  <a:gd name="connsiteY4" fmla="*/ 114619 h 114619"/>
                  <a:gd name="connsiteX5" fmla="*/ 28492 w 28491"/>
                  <a:gd name="connsiteY5" fmla="*/ 114619 h 114619"/>
                  <a:gd name="connsiteX6" fmla="*/ 28492 w 28491"/>
                  <a:gd name="connsiteY6" fmla="*/ 29144 h 114619"/>
                  <a:gd name="connsiteX7" fmla="*/ 20894 w 28491"/>
                  <a:gd name="connsiteY7" fmla="*/ 13947 h 11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114619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105122"/>
                    </a:lnTo>
                    <a:cubicBezTo>
                      <a:pt x="0" y="110367"/>
                      <a:pt x="4253" y="114619"/>
                      <a:pt x="9497" y="114619"/>
                    </a:cubicBezTo>
                    <a:lnTo>
                      <a:pt x="28492" y="114619"/>
                    </a:lnTo>
                    <a:lnTo>
                      <a:pt x="28492" y="29144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A0D755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20" name="Forme libre : forme 119">
                <a:extLst>
                  <a:ext uri="{FF2B5EF4-FFF2-40B4-BE49-F238E27FC236}">
                    <a16:creationId xmlns:a16="http://schemas.microsoft.com/office/drawing/2014/main" id="{20023D97-881A-AA72-E209-E369E5051574}"/>
                  </a:ext>
                </a:extLst>
              </p:cNvPr>
              <p:cNvSpPr/>
              <p:nvPr/>
            </p:nvSpPr>
            <p:spPr>
              <a:xfrm>
                <a:off x="3655884" y="4014920"/>
                <a:ext cx="28491" cy="114619"/>
              </a:xfrm>
              <a:custGeom>
                <a:avLst/>
                <a:gdLst>
                  <a:gd name="connsiteX0" fmla="*/ 7598 w 28491"/>
                  <a:gd name="connsiteY0" fmla="*/ 13947 h 114619"/>
                  <a:gd name="connsiteX1" fmla="*/ 0 w 28491"/>
                  <a:gd name="connsiteY1" fmla="*/ 29144 h 114619"/>
                  <a:gd name="connsiteX2" fmla="*/ 0 w 28491"/>
                  <a:gd name="connsiteY2" fmla="*/ 114619 h 114619"/>
                  <a:gd name="connsiteX3" fmla="*/ 18995 w 28491"/>
                  <a:gd name="connsiteY3" fmla="*/ 114619 h 114619"/>
                  <a:gd name="connsiteX4" fmla="*/ 28492 w 28491"/>
                  <a:gd name="connsiteY4" fmla="*/ 105122 h 114619"/>
                  <a:gd name="connsiteX5" fmla="*/ 28492 w 28491"/>
                  <a:gd name="connsiteY5" fmla="*/ 8763 h 114619"/>
                  <a:gd name="connsiteX6" fmla="*/ 26195 w 28491"/>
                  <a:gd name="connsiteY6" fmla="*/ 0 h 114619"/>
                  <a:gd name="connsiteX7" fmla="*/ 7598 w 28491"/>
                  <a:gd name="connsiteY7" fmla="*/ 13947 h 11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114619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114619"/>
                    </a:lnTo>
                    <a:lnTo>
                      <a:pt x="18995" y="114619"/>
                    </a:lnTo>
                    <a:cubicBezTo>
                      <a:pt x="24239" y="114619"/>
                      <a:pt x="28492" y="110367"/>
                      <a:pt x="28492" y="105122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5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A0D755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A9C5B503-772E-F84C-9881-A1D94EBF3556}"/>
                </a:ext>
              </a:extLst>
            </p:cNvPr>
            <p:cNvSpPr/>
            <p:nvPr/>
          </p:nvSpPr>
          <p:spPr>
            <a:xfrm>
              <a:off x="3437451" y="4120046"/>
              <a:ext cx="75982" cy="85471"/>
            </a:xfrm>
            <a:custGeom>
              <a:avLst/>
              <a:gdLst>
                <a:gd name="connsiteX0" fmla="*/ 0 w 75982"/>
                <a:gd name="connsiteY0" fmla="*/ 0 h 85471"/>
                <a:gd name="connsiteX1" fmla="*/ 75983 w 75982"/>
                <a:gd name="connsiteY1" fmla="*/ 0 h 85471"/>
                <a:gd name="connsiteX2" fmla="*/ 75983 w 75982"/>
                <a:gd name="connsiteY2" fmla="*/ 85472 h 85471"/>
                <a:gd name="connsiteX3" fmla="*/ 0 w 75982"/>
                <a:gd name="connsiteY3" fmla="*/ 85472 h 8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82" h="85471">
                  <a:moveTo>
                    <a:pt x="0" y="0"/>
                  </a:moveTo>
                  <a:lnTo>
                    <a:pt x="75983" y="0"/>
                  </a:lnTo>
                  <a:lnTo>
                    <a:pt x="75983" y="85472"/>
                  </a:lnTo>
                  <a:lnTo>
                    <a:pt x="0" y="85472"/>
                  </a:lnTo>
                  <a:close/>
                </a:path>
              </a:pathLst>
            </a:custGeom>
            <a:solidFill>
              <a:srgbClr val="7F8499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D6D1892C-31DF-3CC6-0760-BF5DC3091327}"/>
                </a:ext>
              </a:extLst>
            </p:cNvPr>
            <p:cNvSpPr/>
            <p:nvPr/>
          </p:nvSpPr>
          <p:spPr>
            <a:xfrm>
              <a:off x="3470688" y="4148534"/>
              <a:ext cx="9497" cy="56983"/>
            </a:xfrm>
            <a:custGeom>
              <a:avLst/>
              <a:gdLst>
                <a:gd name="connsiteX0" fmla="*/ 4748 w 9497"/>
                <a:gd name="connsiteY0" fmla="*/ 0 h 56983"/>
                <a:gd name="connsiteX1" fmla="*/ 0 w 9497"/>
                <a:gd name="connsiteY1" fmla="*/ 4748 h 56983"/>
                <a:gd name="connsiteX2" fmla="*/ 0 w 9497"/>
                <a:gd name="connsiteY2" fmla="*/ 56984 h 56983"/>
                <a:gd name="connsiteX3" fmla="*/ 9497 w 9497"/>
                <a:gd name="connsiteY3" fmla="*/ 56984 h 56983"/>
                <a:gd name="connsiteX4" fmla="*/ 9497 w 9497"/>
                <a:gd name="connsiteY4" fmla="*/ 4749 h 56983"/>
                <a:gd name="connsiteX5" fmla="*/ 4748 w 9497"/>
                <a:gd name="connsiteY5" fmla="*/ 0 h 5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97" h="56983">
                  <a:moveTo>
                    <a:pt x="4748" y="0"/>
                  </a:moveTo>
                  <a:cubicBezTo>
                    <a:pt x="2126" y="0"/>
                    <a:pt x="0" y="2126"/>
                    <a:pt x="0" y="4748"/>
                  </a:cubicBezTo>
                  <a:lnTo>
                    <a:pt x="0" y="56984"/>
                  </a:lnTo>
                  <a:lnTo>
                    <a:pt x="9497" y="56984"/>
                  </a:lnTo>
                  <a:lnTo>
                    <a:pt x="9497" y="4749"/>
                  </a:lnTo>
                  <a:cubicBezTo>
                    <a:pt x="9497" y="2127"/>
                    <a:pt x="7370" y="0"/>
                    <a:pt x="4748" y="0"/>
                  </a:cubicBezTo>
                  <a:close/>
                </a:path>
              </a:pathLst>
            </a:custGeom>
            <a:solidFill>
              <a:srgbClr val="7074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FC0BE5C3-E264-6A84-665A-FE588B7F6B8C}"/>
                </a:ext>
              </a:extLst>
            </p:cNvPr>
            <p:cNvSpPr/>
            <p:nvPr/>
          </p:nvSpPr>
          <p:spPr>
            <a:xfrm>
              <a:off x="3418451" y="3968086"/>
              <a:ext cx="113967" cy="66482"/>
            </a:xfrm>
            <a:custGeom>
              <a:avLst/>
              <a:gdLst>
                <a:gd name="connsiteX0" fmla="*/ 103469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9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8" y="48404"/>
                    <a:pt x="109904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27C77C67-FA77-08D1-6B9E-7C654F6467AB}"/>
                </a:ext>
              </a:extLst>
            </p:cNvPr>
            <p:cNvSpPr/>
            <p:nvPr/>
          </p:nvSpPr>
          <p:spPr>
            <a:xfrm>
              <a:off x="3418452" y="3998034"/>
              <a:ext cx="113967" cy="131506"/>
            </a:xfrm>
            <a:custGeom>
              <a:avLst/>
              <a:gdLst>
                <a:gd name="connsiteX0" fmla="*/ 103467 w 113967"/>
                <a:gd name="connsiteY0" fmla="*/ 8662 h 131506"/>
                <a:gd name="connsiteX1" fmla="*/ 86144 w 113967"/>
                <a:gd name="connsiteY1" fmla="*/ 0 h 131506"/>
                <a:gd name="connsiteX2" fmla="*/ 56984 w 113967"/>
                <a:gd name="connsiteY2" fmla="*/ 13912 h 131506"/>
                <a:gd name="connsiteX3" fmla="*/ 27823 w 113967"/>
                <a:gd name="connsiteY3" fmla="*/ 0 h 131506"/>
                <a:gd name="connsiteX4" fmla="*/ 10500 w 113967"/>
                <a:gd name="connsiteY4" fmla="*/ 8662 h 131506"/>
                <a:gd name="connsiteX5" fmla="*/ 0 w 113967"/>
                <a:gd name="connsiteY5" fmla="*/ 25651 h 131506"/>
                <a:gd name="connsiteX6" fmla="*/ 0 w 113967"/>
                <a:gd name="connsiteY6" fmla="*/ 131507 h 131506"/>
                <a:gd name="connsiteX7" fmla="*/ 113967 w 113967"/>
                <a:gd name="connsiteY7" fmla="*/ 131507 h 131506"/>
                <a:gd name="connsiteX8" fmla="*/ 113967 w 113967"/>
                <a:gd name="connsiteY8" fmla="*/ 25651 h 131506"/>
                <a:gd name="connsiteX9" fmla="*/ 103467 w 113967"/>
                <a:gd name="connsiteY9" fmla="*/ 8662 h 13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967" h="131506">
                  <a:moveTo>
                    <a:pt x="103467" y="8662"/>
                  </a:moveTo>
                  <a:lnTo>
                    <a:pt x="86144" y="0"/>
                  </a:lnTo>
                  <a:cubicBezTo>
                    <a:pt x="79175" y="8428"/>
                    <a:pt x="68773" y="13912"/>
                    <a:pt x="56984" y="13912"/>
                  </a:cubicBezTo>
                  <a:cubicBezTo>
                    <a:pt x="45195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131507"/>
                  </a:lnTo>
                  <a:lnTo>
                    <a:pt x="113967" y="131507"/>
                  </a:lnTo>
                  <a:lnTo>
                    <a:pt x="113967" y="25651"/>
                  </a:lnTo>
                  <a:cubicBezTo>
                    <a:pt x="113967" y="18456"/>
                    <a:pt x="109903" y="11879"/>
                    <a:pt x="103467" y="8662"/>
                  </a:cubicBezTo>
                  <a:close/>
                </a:path>
              </a:pathLst>
            </a:custGeom>
            <a:solidFill>
              <a:srgbClr val="009B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70B4A172-8875-EE22-D730-4A1DD808C3FA}"/>
                </a:ext>
              </a:extLst>
            </p:cNvPr>
            <p:cNvSpPr/>
            <p:nvPr/>
          </p:nvSpPr>
          <p:spPr>
            <a:xfrm>
              <a:off x="3454604" y="3968086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E9839E2-35CE-FB5E-E9FA-DCA4258E9D51}"/>
                </a:ext>
              </a:extLst>
            </p:cNvPr>
            <p:cNvSpPr/>
            <p:nvPr/>
          </p:nvSpPr>
          <p:spPr>
            <a:xfrm>
              <a:off x="3437447" y="3892108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B7035EA5-BE84-6FCE-678E-2C2346B352DB}"/>
                </a:ext>
              </a:extLst>
            </p:cNvPr>
            <p:cNvSpPr/>
            <p:nvPr/>
          </p:nvSpPr>
          <p:spPr>
            <a:xfrm>
              <a:off x="3437447" y="3892108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2E6D7769-ECFE-0AA2-2FC0-C5174BF6AE75}"/>
                </a:ext>
              </a:extLst>
            </p:cNvPr>
            <p:cNvSpPr/>
            <p:nvPr/>
          </p:nvSpPr>
          <p:spPr>
            <a:xfrm>
              <a:off x="3437447" y="3892108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1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91E02E2B-F5F2-FDAA-988C-9D93BC8010D1}"/>
                </a:ext>
              </a:extLst>
            </p:cNvPr>
            <p:cNvSpPr/>
            <p:nvPr/>
          </p:nvSpPr>
          <p:spPr>
            <a:xfrm>
              <a:off x="3437447" y="3892108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66" name="Graphique 923">
              <a:extLst>
                <a:ext uri="{FF2B5EF4-FFF2-40B4-BE49-F238E27FC236}">
                  <a16:creationId xmlns:a16="http://schemas.microsoft.com/office/drawing/2014/main" id="{141FC9B8-AA30-F05A-72F9-487ACAE1FB01}"/>
                </a:ext>
              </a:extLst>
            </p:cNvPr>
            <p:cNvGrpSpPr/>
            <p:nvPr/>
          </p:nvGrpSpPr>
          <p:grpSpPr>
            <a:xfrm>
              <a:off x="3427949" y="4129539"/>
              <a:ext cx="94972" cy="28491"/>
              <a:chOff x="3427949" y="4129539"/>
              <a:chExt cx="94972" cy="28491"/>
            </a:xfrm>
            <a:solidFill>
              <a:srgbClr val="F0C087"/>
            </a:solidFill>
          </p:grpSpPr>
          <p:sp>
            <p:nvSpPr>
              <p:cNvPr id="117" name="Forme libre : forme 116">
                <a:extLst>
                  <a:ext uri="{FF2B5EF4-FFF2-40B4-BE49-F238E27FC236}">
                    <a16:creationId xmlns:a16="http://schemas.microsoft.com/office/drawing/2014/main" id="{DC2648BD-9C2C-7297-DB2B-A384AAF0A731}"/>
                  </a:ext>
                </a:extLst>
              </p:cNvPr>
              <p:cNvSpPr/>
              <p:nvPr/>
            </p:nvSpPr>
            <p:spPr>
              <a:xfrm>
                <a:off x="3427949" y="4129539"/>
                <a:ext cx="18994" cy="28491"/>
              </a:xfrm>
              <a:custGeom>
                <a:avLst/>
                <a:gdLst>
                  <a:gd name="connsiteX0" fmla="*/ 15199 w 18994"/>
                  <a:gd name="connsiteY0" fmla="*/ 28492 h 28491"/>
                  <a:gd name="connsiteX1" fmla="*/ 9497 w 18994"/>
                  <a:gd name="connsiteY1" fmla="*/ 28492 h 28491"/>
                  <a:gd name="connsiteX2" fmla="*/ 0 w 18994"/>
                  <a:gd name="connsiteY2" fmla="*/ 18995 h 28491"/>
                  <a:gd name="connsiteX3" fmla="*/ 0 w 18994"/>
                  <a:gd name="connsiteY3" fmla="*/ 0 h 28491"/>
                  <a:gd name="connsiteX4" fmla="*/ 18995 w 18994"/>
                  <a:gd name="connsiteY4" fmla="*/ 0 h 28491"/>
                  <a:gd name="connsiteX5" fmla="*/ 18995 w 18994"/>
                  <a:gd name="connsiteY5" fmla="*/ 24696 h 28491"/>
                  <a:gd name="connsiteX6" fmla="*/ 15199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15199" y="28492"/>
                    </a:moveTo>
                    <a:lnTo>
                      <a:pt x="9497" y="28492"/>
                    </a:lnTo>
                    <a:cubicBezTo>
                      <a:pt x="4253" y="28492"/>
                      <a:pt x="0" y="24239"/>
                      <a:pt x="0" y="18995"/>
                    </a:cubicBezTo>
                    <a:lnTo>
                      <a:pt x="0" y="0"/>
                    </a:lnTo>
                    <a:lnTo>
                      <a:pt x="18995" y="0"/>
                    </a:lnTo>
                    <a:lnTo>
                      <a:pt x="18995" y="24696"/>
                    </a:lnTo>
                    <a:cubicBezTo>
                      <a:pt x="18995" y="26793"/>
                      <a:pt x="17295" y="28492"/>
                      <a:pt x="15199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18" name="Forme libre : forme 117">
                <a:extLst>
                  <a:ext uri="{FF2B5EF4-FFF2-40B4-BE49-F238E27FC236}">
                    <a16:creationId xmlns:a16="http://schemas.microsoft.com/office/drawing/2014/main" id="{267EAA42-1216-740E-C5C2-01275732E9AB}"/>
                  </a:ext>
                </a:extLst>
              </p:cNvPr>
              <p:cNvSpPr/>
              <p:nvPr/>
            </p:nvSpPr>
            <p:spPr>
              <a:xfrm>
                <a:off x="3503928" y="4129539"/>
                <a:ext cx="18994" cy="28491"/>
              </a:xfrm>
              <a:custGeom>
                <a:avLst/>
                <a:gdLst>
                  <a:gd name="connsiteX0" fmla="*/ 3796 w 18994"/>
                  <a:gd name="connsiteY0" fmla="*/ 28492 h 28491"/>
                  <a:gd name="connsiteX1" fmla="*/ 9497 w 18994"/>
                  <a:gd name="connsiteY1" fmla="*/ 28492 h 28491"/>
                  <a:gd name="connsiteX2" fmla="*/ 18995 w 18994"/>
                  <a:gd name="connsiteY2" fmla="*/ 18995 h 28491"/>
                  <a:gd name="connsiteX3" fmla="*/ 18995 w 18994"/>
                  <a:gd name="connsiteY3" fmla="*/ 0 h 28491"/>
                  <a:gd name="connsiteX4" fmla="*/ 0 w 18994"/>
                  <a:gd name="connsiteY4" fmla="*/ 0 h 28491"/>
                  <a:gd name="connsiteX5" fmla="*/ 0 w 18994"/>
                  <a:gd name="connsiteY5" fmla="*/ 24696 h 28491"/>
                  <a:gd name="connsiteX6" fmla="*/ 3796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3796" y="28492"/>
                    </a:moveTo>
                    <a:lnTo>
                      <a:pt x="9497" y="28492"/>
                    </a:lnTo>
                    <a:cubicBezTo>
                      <a:pt x="14742" y="28492"/>
                      <a:pt x="18995" y="24239"/>
                      <a:pt x="18995" y="18995"/>
                    </a:cubicBezTo>
                    <a:lnTo>
                      <a:pt x="18995" y="0"/>
                    </a:lnTo>
                    <a:lnTo>
                      <a:pt x="0" y="0"/>
                    </a:lnTo>
                    <a:lnTo>
                      <a:pt x="0" y="24696"/>
                    </a:lnTo>
                    <a:cubicBezTo>
                      <a:pt x="0" y="26793"/>
                      <a:pt x="1699" y="28492"/>
                      <a:pt x="3796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grpSp>
          <p:nvGrpSpPr>
            <p:cNvPr id="67" name="Graphique 923">
              <a:extLst>
                <a:ext uri="{FF2B5EF4-FFF2-40B4-BE49-F238E27FC236}">
                  <a16:creationId xmlns:a16="http://schemas.microsoft.com/office/drawing/2014/main" id="{340077FF-3596-85D2-1F61-C2D347988872}"/>
                </a:ext>
              </a:extLst>
            </p:cNvPr>
            <p:cNvGrpSpPr/>
            <p:nvPr/>
          </p:nvGrpSpPr>
          <p:grpSpPr>
            <a:xfrm>
              <a:off x="3418453" y="4014920"/>
              <a:ext cx="113966" cy="124117"/>
              <a:chOff x="3418453" y="4014920"/>
              <a:chExt cx="113966" cy="124117"/>
            </a:xfrm>
            <a:solidFill>
              <a:srgbClr val="A0D755"/>
            </a:solidFill>
          </p:grpSpPr>
          <p:sp>
            <p:nvSpPr>
              <p:cNvPr id="115" name="Forme libre : forme 114">
                <a:extLst>
                  <a:ext uri="{FF2B5EF4-FFF2-40B4-BE49-F238E27FC236}">
                    <a16:creationId xmlns:a16="http://schemas.microsoft.com/office/drawing/2014/main" id="{A541C914-E9E4-3AF4-3D8E-90FFFE35B109}"/>
                  </a:ext>
                </a:extLst>
              </p:cNvPr>
              <p:cNvSpPr/>
              <p:nvPr/>
            </p:nvSpPr>
            <p:spPr>
              <a:xfrm>
                <a:off x="3418453" y="4014921"/>
                <a:ext cx="28491" cy="124116"/>
              </a:xfrm>
              <a:custGeom>
                <a:avLst/>
                <a:gdLst>
                  <a:gd name="connsiteX0" fmla="*/ 20894 w 28491"/>
                  <a:gd name="connsiteY0" fmla="*/ 13947 h 124116"/>
                  <a:gd name="connsiteX1" fmla="*/ 2296 w 28491"/>
                  <a:gd name="connsiteY1" fmla="*/ 0 h 124116"/>
                  <a:gd name="connsiteX2" fmla="*/ 0 w 28491"/>
                  <a:gd name="connsiteY2" fmla="*/ 8763 h 124116"/>
                  <a:gd name="connsiteX3" fmla="*/ 0 w 28491"/>
                  <a:gd name="connsiteY3" fmla="*/ 114619 h 124116"/>
                  <a:gd name="connsiteX4" fmla="*/ 9497 w 28491"/>
                  <a:gd name="connsiteY4" fmla="*/ 124117 h 124116"/>
                  <a:gd name="connsiteX5" fmla="*/ 18995 w 28491"/>
                  <a:gd name="connsiteY5" fmla="*/ 124117 h 124116"/>
                  <a:gd name="connsiteX6" fmla="*/ 28492 w 28491"/>
                  <a:gd name="connsiteY6" fmla="*/ 114619 h 124116"/>
                  <a:gd name="connsiteX7" fmla="*/ 28492 w 28491"/>
                  <a:gd name="connsiteY7" fmla="*/ 29144 h 124116"/>
                  <a:gd name="connsiteX8" fmla="*/ 20894 w 28491"/>
                  <a:gd name="connsiteY8" fmla="*/ 13947 h 1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6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114619"/>
                    </a:lnTo>
                    <a:cubicBezTo>
                      <a:pt x="0" y="119864"/>
                      <a:pt x="4253" y="124117"/>
                      <a:pt x="9497" y="124117"/>
                    </a:cubicBezTo>
                    <a:lnTo>
                      <a:pt x="18995" y="124117"/>
                    </a:lnTo>
                    <a:cubicBezTo>
                      <a:pt x="24239" y="124117"/>
                      <a:pt x="28492" y="119864"/>
                      <a:pt x="28492" y="114619"/>
                    </a:cubicBezTo>
                    <a:lnTo>
                      <a:pt x="28492" y="29144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027390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16" name="Forme libre : forme 115">
                <a:extLst>
                  <a:ext uri="{FF2B5EF4-FFF2-40B4-BE49-F238E27FC236}">
                    <a16:creationId xmlns:a16="http://schemas.microsoft.com/office/drawing/2014/main" id="{DDC325B8-ADB2-BBBA-E3EB-DAD06CAF6DD3}"/>
                  </a:ext>
                </a:extLst>
              </p:cNvPr>
              <p:cNvSpPr/>
              <p:nvPr/>
            </p:nvSpPr>
            <p:spPr>
              <a:xfrm>
                <a:off x="3503928" y="4014920"/>
                <a:ext cx="28491" cy="124116"/>
              </a:xfrm>
              <a:custGeom>
                <a:avLst/>
                <a:gdLst>
                  <a:gd name="connsiteX0" fmla="*/ 7598 w 28491"/>
                  <a:gd name="connsiteY0" fmla="*/ 13947 h 124116"/>
                  <a:gd name="connsiteX1" fmla="*/ 0 w 28491"/>
                  <a:gd name="connsiteY1" fmla="*/ 29144 h 124116"/>
                  <a:gd name="connsiteX2" fmla="*/ 0 w 28491"/>
                  <a:gd name="connsiteY2" fmla="*/ 114619 h 124116"/>
                  <a:gd name="connsiteX3" fmla="*/ 9497 w 28491"/>
                  <a:gd name="connsiteY3" fmla="*/ 124117 h 124116"/>
                  <a:gd name="connsiteX4" fmla="*/ 18995 w 28491"/>
                  <a:gd name="connsiteY4" fmla="*/ 124117 h 124116"/>
                  <a:gd name="connsiteX5" fmla="*/ 28492 w 28491"/>
                  <a:gd name="connsiteY5" fmla="*/ 114619 h 124116"/>
                  <a:gd name="connsiteX6" fmla="*/ 28492 w 28491"/>
                  <a:gd name="connsiteY6" fmla="*/ 8763 h 124116"/>
                  <a:gd name="connsiteX7" fmla="*/ 26196 w 28491"/>
                  <a:gd name="connsiteY7" fmla="*/ 0 h 124116"/>
                  <a:gd name="connsiteX8" fmla="*/ 7598 w 28491"/>
                  <a:gd name="connsiteY8" fmla="*/ 13947 h 1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6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114619"/>
                    </a:lnTo>
                    <a:cubicBezTo>
                      <a:pt x="0" y="119864"/>
                      <a:pt x="4253" y="124117"/>
                      <a:pt x="9497" y="124117"/>
                    </a:cubicBezTo>
                    <a:lnTo>
                      <a:pt x="18995" y="124117"/>
                    </a:lnTo>
                    <a:cubicBezTo>
                      <a:pt x="24239" y="124117"/>
                      <a:pt x="28492" y="119864"/>
                      <a:pt x="28492" y="114619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6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027390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2E749A85-392D-B91E-4F6E-EBE22BDB0088}"/>
                </a:ext>
              </a:extLst>
            </p:cNvPr>
            <p:cNvSpPr/>
            <p:nvPr/>
          </p:nvSpPr>
          <p:spPr>
            <a:xfrm>
              <a:off x="3589405" y="4120046"/>
              <a:ext cx="75982" cy="85471"/>
            </a:xfrm>
            <a:custGeom>
              <a:avLst/>
              <a:gdLst>
                <a:gd name="connsiteX0" fmla="*/ 0 w 75982"/>
                <a:gd name="connsiteY0" fmla="*/ 0 h 85471"/>
                <a:gd name="connsiteX1" fmla="*/ 75983 w 75982"/>
                <a:gd name="connsiteY1" fmla="*/ 0 h 85471"/>
                <a:gd name="connsiteX2" fmla="*/ 75983 w 75982"/>
                <a:gd name="connsiteY2" fmla="*/ 85472 h 85471"/>
                <a:gd name="connsiteX3" fmla="*/ 0 w 75982"/>
                <a:gd name="connsiteY3" fmla="*/ 85472 h 8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82" h="85471">
                  <a:moveTo>
                    <a:pt x="0" y="0"/>
                  </a:moveTo>
                  <a:lnTo>
                    <a:pt x="75983" y="0"/>
                  </a:lnTo>
                  <a:lnTo>
                    <a:pt x="75983" y="85472"/>
                  </a:lnTo>
                  <a:lnTo>
                    <a:pt x="0" y="85472"/>
                  </a:lnTo>
                  <a:close/>
                </a:path>
              </a:pathLst>
            </a:custGeom>
            <a:solidFill>
              <a:srgbClr val="7F8499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CD085DAC-D580-8E14-B8CF-466B52C35DE8}"/>
                </a:ext>
              </a:extLst>
            </p:cNvPr>
            <p:cNvSpPr/>
            <p:nvPr/>
          </p:nvSpPr>
          <p:spPr>
            <a:xfrm>
              <a:off x="3622644" y="4148534"/>
              <a:ext cx="9497" cy="56983"/>
            </a:xfrm>
            <a:custGeom>
              <a:avLst/>
              <a:gdLst>
                <a:gd name="connsiteX0" fmla="*/ 4748 w 9497"/>
                <a:gd name="connsiteY0" fmla="*/ 0 h 56983"/>
                <a:gd name="connsiteX1" fmla="*/ 0 w 9497"/>
                <a:gd name="connsiteY1" fmla="*/ 4748 h 56983"/>
                <a:gd name="connsiteX2" fmla="*/ 0 w 9497"/>
                <a:gd name="connsiteY2" fmla="*/ 56984 h 56983"/>
                <a:gd name="connsiteX3" fmla="*/ 9497 w 9497"/>
                <a:gd name="connsiteY3" fmla="*/ 56984 h 56983"/>
                <a:gd name="connsiteX4" fmla="*/ 9497 w 9497"/>
                <a:gd name="connsiteY4" fmla="*/ 4749 h 56983"/>
                <a:gd name="connsiteX5" fmla="*/ 4748 w 9497"/>
                <a:gd name="connsiteY5" fmla="*/ 0 h 5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97" h="56983">
                  <a:moveTo>
                    <a:pt x="4748" y="0"/>
                  </a:moveTo>
                  <a:cubicBezTo>
                    <a:pt x="2126" y="0"/>
                    <a:pt x="0" y="2126"/>
                    <a:pt x="0" y="4748"/>
                  </a:cubicBezTo>
                  <a:lnTo>
                    <a:pt x="0" y="56984"/>
                  </a:lnTo>
                  <a:lnTo>
                    <a:pt x="9497" y="56984"/>
                  </a:lnTo>
                  <a:lnTo>
                    <a:pt x="9497" y="4749"/>
                  </a:lnTo>
                  <a:cubicBezTo>
                    <a:pt x="9496" y="2127"/>
                    <a:pt x="7370" y="0"/>
                    <a:pt x="4748" y="0"/>
                  </a:cubicBezTo>
                  <a:close/>
                </a:path>
              </a:pathLst>
            </a:custGeom>
            <a:solidFill>
              <a:srgbClr val="7074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6A58D833-11B1-F248-8B01-E16B205BFCCF}"/>
                </a:ext>
              </a:extLst>
            </p:cNvPr>
            <p:cNvSpPr/>
            <p:nvPr/>
          </p:nvSpPr>
          <p:spPr>
            <a:xfrm>
              <a:off x="3570407" y="3968086"/>
              <a:ext cx="113967" cy="66482"/>
            </a:xfrm>
            <a:custGeom>
              <a:avLst/>
              <a:gdLst>
                <a:gd name="connsiteX0" fmla="*/ 103469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9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8" y="48404"/>
                    <a:pt x="109904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B699C4FE-ABFB-C197-BFA5-FF1D68B60B7F}"/>
                </a:ext>
              </a:extLst>
            </p:cNvPr>
            <p:cNvSpPr/>
            <p:nvPr/>
          </p:nvSpPr>
          <p:spPr>
            <a:xfrm>
              <a:off x="3570409" y="3998034"/>
              <a:ext cx="113967" cy="131506"/>
            </a:xfrm>
            <a:custGeom>
              <a:avLst/>
              <a:gdLst>
                <a:gd name="connsiteX0" fmla="*/ 103467 w 113967"/>
                <a:gd name="connsiteY0" fmla="*/ 8662 h 131506"/>
                <a:gd name="connsiteX1" fmla="*/ 86144 w 113967"/>
                <a:gd name="connsiteY1" fmla="*/ 0 h 131506"/>
                <a:gd name="connsiteX2" fmla="*/ 56984 w 113967"/>
                <a:gd name="connsiteY2" fmla="*/ 13912 h 131506"/>
                <a:gd name="connsiteX3" fmla="*/ 27823 w 113967"/>
                <a:gd name="connsiteY3" fmla="*/ 0 h 131506"/>
                <a:gd name="connsiteX4" fmla="*/ 10500 w 113967"/>
                <a:gd name="connsiteY4" fmla="*/ 8662 h 131506"/>
                <a:gd name="connsiteX5" fmla="*/ 0 w 113967"/>
                <a:gd name="connsiteY5" fmla="*/ 25651 h 131506"/>
                <a:gd name="connsiteX6" fmla="*/ 0 w 113967"/>
                <a:gd name="connsiteY6" fmla="*/ 131507 h 131506"/>
                <a:gd name="connsiteX7" fmla="*/ 113967 w 113967"/>
                <a:gd name="connsiteY7" fmla="*/ 131507 h 131506"/>
                <a:gd name="connsiteX8" fmla="*/ 113967 w 113967"/>
                <a:gd name="connsiteY8" fmla="*/ 25651 h 131506"/>
                <a:gd name="connsiteX9" fmla="*/ 103467 w 113967"/>
                <a:gd name="connsiteY9" fmla="*/ 8662 h 13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967" h="131506">
                  <a:moveTo>
                    <a:pt x="103467" y="8662"/>
                  </a:moveTo>
                  <a:lnTo>
                    <a:pt x="86144" y="0"/>
                  </a:lnTo>
                  <a:cubicBezTo>
                    <a:pt x="79176" y="8428"/>
                    <a:pt x="68773" y="13912"/>
                    <a:pt x="56984" y="13912"/>
                  </a:cubicBezTo>
                  <a:cubicBezTo>
                    <a:pt x="45194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131507"/>
                  </a:lnTo>
                  <a:lnTo>
                    <a:pt x="113967" y="131507"/>
                  </a:lnTo>
                  <a:lnTo>
                    <a:pt x="113967" y="25651"/>
                  </a:lnTo>
                  <a:cubicBezTo>
                    <a:pt x="113967" y="18456"/>
                    <a:pt x="109903" y="11879"/>
                    <a:pt x="103467" y="8662"/>
                  </a:cubicBezTo>
                  <a:close/>
                </a:path>
              </a:pathLst>
            </a:custGeom>
            <a:solidFill>
              <a:srgbClr val="009B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87FF198D-E018-C38D-01B8-4B09870769F3}"/>
                </a:ext>
              </a:extLst>
            </p:cNvPr>
            <p:cNvSpPr/>
            <p:nvPr/>
          </p:nvSpPr>
          <p:spPr>
            <a:xfrm>
              <a:off x="3606561" y="3968086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D1577727-6CA2-04F5-5D1E-E5C7905AC7EB}"/>
                </a:ext>
              </a:extLst>
            </p:cNvPr>
            <p:cNvSpPr/>
            <p:nvPr/>
          </p:nvSpPr>
          <p:spPr>
            <a:xfrm>
              <a:off x="3589403" y="3892108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C8209A0D-C116-46ED-0851-8BC6596B69B9}"/>
                </a:ext>
              </a:extLst>
            </p:cNvPr>
            <p:cNvSpPr/>
            <p:nvPr/>
          </p:nvSpPr>
          <p:spPr>
            <a:xfrm>
              <a:off x="3589403" y="3892108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5C978567-FD98-E938-28EF-29E2C991CF59}"/>
                </a:ext>
              </a:extLst>
            </p:cNvPr>
            <p:cNvSpPr/>
            <p:nvPr/>
          </p:nvSpPr>
          <p:spPr>
            <a:xfrm>
              <a:off x="3589403" y="3892108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1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D0130034-EA73-3DF1-EEA3-9CE1E64D82EA}"/>
                </a:ext>
              </a:extLst>
            </p:cNvPr>
            <p:cNvSpPr/>
            <p:nvPr/>
          </p:nvSpPr>
          <p:spPr>
            <a:xfrm>
              <a:off x="3589403" y="3892108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77" name="Graphique 923">
              <a:extLst>
                <a:ext uri="{FF2B5EF4-FFF2-40B4-BE49-F238E27FC236}">
                  <a16:creationId xmlns:a16="http://schemas.microsoft.com/office/drawing/2014/main" id="{DFB2948A-FD3A-9012-ABD5-06A92AB16B41}"/>
                </a:ext>
              </a:extLst>
            </p:cNvPr>
            <p:cNvGrpSpPr/>
            <p:nvPr/>
          </p:nvGrpSpPr>
          <p:grpSpPr>
            <a:xfrm>
              <a:off x="3579906" y="4129539"/>
              <a:ext cx="94972" cy="28491"/>
              <a:chOff x="3579906" y="4129539"/>
              <a:chExt cx="94972" cy="28491"/>
            </a:xfrm>
            <a:solidFill>
              <a:srgbClr val="F0C087"/>
            </a:solidFill>
          </p:grpSpPr>
          <p:sp>
            <p:nvSpPr>
              <p:cNvPr id="113" name="Forme libre : forme 112">
                <a:extLst>
                  <a:ext uri="{FF2B5EF4-FFF2-40B4-BE49-F238E27FC236}">
                    <a16:creationId xmlns:a16="http://schemas.microsoft.com/office/drawing/2014/main" id="{B0DEFE06-BF0C-A8CC-F63A-81E2C5423C4B}"/>
                  </a:ext>
                </a:extLst>
              </p:cNvPr>
              <p:cNvSpPr/>
              <p:nvPr/>
            </p:nvSpPr>
            <p:spPr>
              <a:xfrm>
                <a:off x="3579906" y="4129539"/>
                <a:ext cx="18994" cy="28491"/>
              </a:xfrm>
              <a:custGeom>
                <a:avLst/>
                <a:gdLst>
                  <a:gd name="connsiteX0" fmla="*/ 15199 w 18994"/>
                  <a:gd name="connsiteY0" fmla="*/ 28492 h 28491"/>
                  <a:gd name="connsiteX1" fmla="*/ 9497 w 18994"/>
                  <a:gd name="connsiteY1" fmla="*/ 28492 h 28491"/>
                  <a:gd name="connsiteX2" fmla="*/ 0 w 18994"/>
                  <a:gd name="connsiteY2" fmla="*/ 18995 h 28491"/>
                  <a:gd name="connsiteX3" fmla="*/ 0 w 18994"/>
                  <a:gd name="connsiteY3" fmla="*/ 0 h 28491"/>
                  <a:gd name="connsiteX4" fmla="*/ 18995 w 18994"/>
                  <a:gd name="connsiteY4" fmla="*/ 0 h 28491"/>
                  <a:gd name="connsiteX5" fmla="*/ 18995 w 18994"/>
                  <a:gd name="connsiteY5" fmla="*/ 24696 h 28491"/>
                  <a:gd name="connsiteX6" fmla="*/ 15199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15199" y="28492"/>
                    </a:moveTo>
                    <a:lnTo>
                      <a:pt x="9497" y="28492"/>
                    </a:lnTo>
                    <a:cubicBezTo>
                      <a:pt x="4253" y="28492"/>
                      <a:pt x="0" y="24239"/>
                      <a:pt x="0" y="18995"/>
                    </a:cubicBezTo>
                    <a:lnTo>
                      <a:pt x="0" y="0"/>
                    </a:lnTo>
                    <a:lnTo>
                      <a:pt x="18995" y="0"/>
                    </a:lnTo>
                    <a:lnTo>
                      <a:pt x="18995" y="24696"/>
                    </a:lnTo>
                    <a:cubicBezTo>
                      <a:pt x="18995" y="26793"/>
                      <a:pt x="17295" y="28492"/>
                      <a:pt x="15199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14" name="Forme libre : forme 113">
                <a:extLst>
                  <a:ext uri="{FF2B5EF4-FFF2-40B4-BE49-F238E27FC236}">
                    <a16:creationId xmlns:a16="http://schemas.microsoft.com/office/drawing/2014/main" id="{618BF1E1-5F30-6013-F159-CE7E9AEBEAEA}"/>
                  </a:ext>
                </a:extLst>
              </p:cNvPr>
              <p:cNvSpPr/>
              <p:nvPr/>
            </p:nvSpPr>
            <p:spPr>
              <a:xfrm>
                <a:off x="3655884" y="4129539"/>
                <a:ext cx="18994" cy="28491"/>
              </a:xfrm>
              <a:custGeom>
                <a:avLst/>
                <a:gdLst>
                  <a:gd name="connsiteX0" fmla="*/ 3796 w 18994"/>
                  <a:gd name="connsiteY0" fmla="*/ 28492 h 28491"/>
                  <a:gd name="connsiteX1" fmla="*/ 9497 w 18994"/>
                  <a:gd name="connsiteY1" fmla="*/ 28492 h 28491"/>
                  <a:gd name="connsiteX2" fmla="*/ 18995 w 18994"/>
                  <a:gd name="connsiteY2" fmla="*/ 18995 h 28491"/>
                  <a:gd name="connsiteX3" fmla="*/ 18995 w 18994"/>
                  <a:gd name="connsiteY3" fmla="*/ 0 h 28491"/>
                  <a:gd name="connsiteX4" fmla="*/ 0 w 18994"/>
                  <a:gd name="connsiteY4" fmla="*/ 0 h 28491"/>
                  <a:gd name="connsiteX5" fmla="*/ 0 w 18994"/>
                  <a:gd name="connsiteY5" fmla="*/ 24696 h 28491"/>
                  <a:gd name="connsiteX6" fmla="*/ 3796 w 18994"/>
                  <a:gd name="connsiteY6" fmla="*/ 28492 h 2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94" h="28491">
                    <a:moveTo>
                      <a:pt x="3796" y="28492"/>
                    </a:moveTo>
                    <a:lnTo>
                      <a:pt x="9497" y="28492"/>
                    </a:lnTo>
                    <a:cubicBezTo>
                      <a:pt x="14742" y="28492"/>
                      <a:pt x="18995" y="24239"/>
                      <a:pt x="18995" y="18995"/>
                    </a:cubicBezTo>
                    <a:lnTo>
                      <a:pt x="18995" y="0"/>
                    </a:lnTo>
                    <a:lnTo>
                      <a:pt x="0" y="0"/>
                    </a:lnTo>
                    <a:lnTo>
                      <a:pt x="0" y="24696"/>
                    </a:lnTo>
                    <a:cubicBezTo>
                      <a:pt x="0" y="26793"/>
                      <a:pt x="1699" y="28492"/>
                      <a:pt x="3796" y="28492"/>
                    </a:cubicBezTo>
                    <a:close/>
                  </a:path>
                </a:pathLst>
              </a:custGeom>
              <a:solidFill>
                <a:srgbClr val="F0C087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grpSp>
          <p:nvGrpSpPr>
            <p:cNvPr id="78" name="Graphique 923">
              <a:extLst>
                <a:ext uri="{FF2B5EF4-FFF2-40B4-BE49-F238E27FC236}">
                  <a16:creationId xmlns:a16="http://schemas.microsoft.com/office/drawing/2014/main" id="{4FCB703B-5442-3574-C51F-2AD479F9D510}"/>
                </a:ext>
              </a:extLst>
            </p:cNvPr>
            <p:cNvGrpSpPr/>
            <p:nvPr/>
          </p:nvGrpSpPr>
          <p:grpSpPr>
            <a:xfrm>
              <a:off x="3570409" y="4014920"/>
              <a:ext cx="113967" cy="124116"/>
              <a:chOff x="3570409" y="4014920"/>
              <a:chExt cx="113967" cy="124116"/>
            </a:xfrm>
            <a:solidFill>
              <a:srgbClr val="A0D755"/>
            </a:solidFill>
          </p:grpSpPr>
          <p:sp>
            <p:nvSpPr>
              <p:cNvPr id="111" name="Forme libre : forme 110">
                <a:extLst>
                  <a:ext uri="{FF2B5EF4-FFF2-40B4-BE49-F238E27FC236}">
                    <a16:creationId xmlns:a16="http://schemas.microsoft.com/office/drawing/2014/main" id="{C38F2F12-294F-E18B-E593-7370D4D402A8}"/>
                  </a:ext>
                </a:extLst>
              </p:cNvPr>
              <p:cNvSpPr/>
              <p:nvPr/>
            </p:nvSpPr>
            <p:spPr>
              <a:xfrm>
                <a:off x="3570409" y="4014920"/>
                <a:ext cx="28491" cy="124116"/>
              </a:xfrm>
              <a:custGeom>
                <a:avLst/>
                <a:gdLst>
                  <a:gd name="connsiteX0" fmla="*/ 20894 w 28491"/>
                  <a:gd name="connsiteY0" fmla="*/ 13947 h 124116"/>
                  <a:gd name="connsiteX1" fmla="*/ 2296 w 28491"/>
                  <a:gd name="connsiteY1" fmla="*/ 0 h 124116"/>
                  <a:gd name="connsiteX2" fmla="*/ 0 w 28491"/>
                  <a:gd name="connsiteY2" fmla="*/ 8763 h 124116"/>
                  <a:gd name="connsiteX3" fmla="*/ 0 w 28491"/>
                  <a:gd name="connsiteY3" fmla="*/ 114619 h 124116"/>
                  <a:gd name="connsiteX4" fmla="*/ 9497 w 28491"/>
                  <a:gd name="connsiteY4" fmla="*/ 124117 h 124116"/>
                  <a:gd name="connsiteX5" fmla="*/ 18995 w 28491"/>
                  <a:gd name="connsiteY5" fmla="*/ 124117 h 124116"/>
                  <a:gd name="connsiteX6" fmla="*/ 28492 w 28491"/>
                  <a:gd name="connsiteY6" fmla="*/ 114619 h 124116"/>
                  <a:gd name="connsiteX7" fmla="*/ 28492 w 28491"/>
                  <a:gd name="connsiteY7" fmla="*/ 29144 h 124116"/>
                  <a:gd name="connsiteX8" fmla="*/ 20894 w 28491"/>
                  <a:gd name="connsiteY8" fmla="*/ 13947 h 1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6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114619"/>
                    </a:lnTo>
                    <a:cubicBezTo>
                      <a:pt x="0" y="119864"/>
                      <a:pt x="4253" y="124117"/>
                      <a:pt x="9497" y="124117"/>
                    </a:cubicBezTo>
                    <a:lnTo>
                      <a:pt x="18995" y="124117"/>
                    </a:lnTo>
                    <a:cubicBezTo>
                      <a:pt x="24239" y="124117"/>
                      <a:pt x="28492" y="119864"/>
                      <a:pt x="28492" y="114619"/>
                    </a:cubicBezTo>
                    <a:lnTo>
                      <a:pt x="28492" y="29144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027390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12" name="Forme libre : forme 111">
                <a:extLst>
                  <a:ext uri="{FF2B5EF4-FFF2-40B4-BE49-F238E27FC236}">
                    <a16:creationId xmlns:a16="http://schemas.microsoft.com/office/drawing/2014/main" id="{81B511B9-C56A-071B-2F9C-A33B619C79B2}"/>
                  </a:ext>
                </a:extLst>
              </p:cNvPr>
              <p:cNvSpPr/>
              <p:nvPr/>
            </p:nvSpPr>
            <p:spPr>
              <a:xfrm>
                <a:off x="3655884" y="4014920"/>
                <a:ext cx="28491" cy="124116"/>
              </a:xfrm>
              <a:custGeom>
                <a:avLst/>
                <a:gdLst>
                  <a:gd name="connsiteX0" fmla="*/ 7598 w 28491"/>
                  <a:gd name="connsiteY0" fmla="*/ 13947 h 124116"/>
                  <a:gd name="connsiteX1" fmla="*/ 0 w 28491"/>
                  <a:gd name="connsiteY1" fmla="*/ 29144 h 124116"/>
                  <a:gd name="connsiteX2" fmla="*/ 0 w 28491"/>
                  <a:gd name="connsiteY2" fmla="*/ 114619 h 124116"/>
                  <a:gd name="connsiteX3" fmla="*/ 9497 w 28491"/>
                  <a:gd name="connsiteY3" fmla="*/ 124117 h 124116"/>
                  <a:gd name="connsiteX4" fmla="*/ 18995 w 28491"/>
                  <a:gd name="connsiteY4" fmla="*/ 124117 h 124116"/>
                  <a:gd name="connsiteX5" fmla="*/ 28492 w 28491"/>
                  <a:gd name="connsiteY5" fmla="*/ 114619 h 124116"/>
                  <a:gd name="connsiteX6" fmla="*/ 28492 w 28491"/>
                  <a:gd name="connsiteY6" fmla="*/ 8763 h 124116"/>
                  <a:gd name="connsiteX7" fmla="*/ 26195 w 28491"/>
                  <a:gd name="connsiteY7" fmla="*/ 0 h 124116"/>
                  <a:gd name="connsiteX8" fmla="*/ 7598 w 28491"/>
                  <a:gd name="connsiteY8" fmla="*/ 13947 h 1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1" h="124116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114619"/>
                    </a:lnTo>
                    <a:cubicBezTo>
                      <a:pt x="0" y="119864"/>
                      <a:pt x="4253" y="124117"/>
                      <a:pt x="9497" y="124117"/>
                    </a:cubicBezTo>
                    <a:lnTo>
                      <a:pt x="18995" y="124117"/>
                    </a:lnTo>
                    <a:cubicBezTo>
                      <a:pt x="24239" y="124117"/>
                      <a:pt x="28492" y="119864"/>
                      <a:pt x="28492" y="114619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5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027390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D09E5BE5-57C0-AA9D-9F96-8304DF4DA4F7}"/>
                </a:ext>
              </a:extLst>
            </p:cNvPr>
            <p:cNvSpPr/>
            <p:nvPr/>
          </p:nvSpPr>
          <p:spPr>
            <a:xfrm>
              <a:off x="3342474" y="4120042"/>
              <a:ext cx="113967" cy="66482"/>
            </a:xfrm>
            <a:custGeom>
              <a:avLst/>
              <a:gdLst>
                <a:gd name="connsiteX0" fmla="*/ 103469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9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7" y="48404"/>
                    <a:pt x="109903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95D62599-A096-96B1-F8BB-6DB1543E3CF6}"/>
                </a:ext>
              </a:extLst>
            </p:cNvPr>
            <p:cNvSpPr/>
            <p:nvPr/>
          </p:nvSpPr>
          <p:spPr>
            <a:xfrm>
              <a:off x="3342475" y="4149989"/>
              <a:ext cx="113967" cy="55528"/>
            </a:xfrm>
            <a:custGeom>
              <a:avLst/>
              <a:gdLst>
                <a:gd name="connsiteX0" fmla="*/ 103467 w 113967"/>
                <a:gd name="connsiteY0" fmla="*/ 8662 h 55528"/>
                <a:gd name="connsiteX1" fmla="*/ 86144 w 113967"/>
                <a:gd name="connsiteY1" fmla="*/ 0 h 55528"/>
                <a:gd name="connsiteX2" fmla="*/ 56984 w 113967"/>
                <a:gd name="connsiteY2" fmla="*/ 13912 h 55528"/>
                <a:gd name="connsiteX3" fmla="*/ 27823 w 113967"/>
                <a:gd name="connsiteY3" fmla="*/ 0 h 55528"/>
                <a:gd name="connsiteX4" fmla="*/ 10500 w 113967"/>
                <a:gd name="connsiteY4" fmla="*/ 8662 h 55528"/>
                <a:gd name="connsiteX5" fmla="*/ 0 w 113967"/>
                <a:gd name="connsiteY5" fmla="*/ 25651 h 55528"/>
                <a:gd name="connsiteX6" fmla="*/ 0 w 113967"/>
                <a:gd name="connsiteY6" fmla="*/ 46031 h 55528"/>
                <a:gd name="connsiteX7" fmla="*/ 9497 w 113967"/>
                <a:gd name="connsiteY7" fmla="*/ 55529 h 55528"/>
                <a:gd name="connsiteX8" fmla="*/ 104470 w 113967"/>
                <a:gd name="connsiteY8" fmla="*/ 55529 h 55528"/>
                <a:gd name="connsiteX9" fmla="*/ 113967 w 113967"/>
                <a:gd name="connsiteY9" fmla="*/ 46031 h 55528"/>
                <a:gd name="connsiteX10" fmla="*/ 113967 w 113967"/>
                <a:gd name="connsiteY10" fmla="*/ 25651 h 55528"/>
                <a:gd name="connsiteX11" fmla="*/ 103467 w 113967"/>
                <a:gd name="connsiteY11" fmla="*/ 8662 h 5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967" h="55528">
                  <a:moveTo>
                    <a:pt x="103467" y="8662"/>
                  </a:moveTo>
                  <a:lnTo>
                    <a:pt x="86144" y="0"/>
                  </a:lnTo>
                  <a:cubicBezTo>
                    <a:pt x="79175" y="8428"/>
                    <a:pt x="68773" y="13912"/>
                    <a:pt x="56984" y="13912"/>
                  </a:cubicBezTo>
                  <a:cubicBezTo>
                    <a:pt x="45195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46031"/>
                  </a:lnTo>
                  <a:cubicBezTo>
                    <a:pt x="0" y="51276"/>
                    <a:pt x="4253" y="55529"/>
                    <a:pt x="9497" y="55529"/>
                  </a:cubicBezTo>
                  <a:lnTo>
                    <a:pt x="104470" y="55529"/>
                  </a:lnTo>
                  <a:cubicBezTo>
                    <a:pt x="109715" y="55529"/>
                    <a:pt x="113967" y="51276"/>
                    <a:pt x="113967" y="46031"/>
                  </a:cubicBezTo>
                  <a:lnTo>
                    <a:pt x="113967" y="25651"/>
                  </a:lnTo>
                  <a:cubicBezTo>
                    <a:pt x="113966" y="18457"/>
                    <a:pt x="109902" y="11880"/>
                    <a:pt x="103467" y="8662"/>
                  </a:cubicBezTo>
                  <a:close/>
                </a:path>
              </a:pathLst>
            </a:custGeom>
            <a:solidFill>
              <a:srgbClr val="582974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389A187C-6C65-9DB1-4BE1-9CCD3EA47970}"/>
                </a:ext>
              </a:extLst>
            </p:cNvPr>
            <p:cNvSpPr/>
            <p:nvPr/>
          </p:nvSpPr>
          <p:spPr>
            <a:xfrm>
              <a:off x="3378626" y="4120042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95719207-ACCA-3F98-22CC-8FD0291A8AB4}"/>
                </a:ext>
              </a:extLst>
            </p:cNvPr>
            <p:cNvSpPr/>
            <p:nvPr/>
          </p:nvSpPr>
          <p:spPr>
            <a:xfrm>
              <a:off x="3361469" y="4044064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ADD47477-B10B-D4D5-1C59-3D60AC4DA918}"/>
                </a:ext>
              </a:extLst>
            </p:cNvPr>
            <p:cNvSpPr/>
            <p:nvPr/>
          </p:nvSpPr>
          <p:spPr>
            <a:xfrm>
              <a:off x="3361469" y="4044064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A6B4FBC4-E71A-7C1B-4302-A2F4106BE02F}"/>
                </a:ext>
              </a:extLst>
            </p:cNvPr>
            <p:cNvSpPr/>
            <p:nvPr/>
          </p:nvSpPr>
          <p:spPr>
            <a:xfrm>
              <a:off x="3361469" y="4044064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F3D1A9DF-5D2C-5CD6-550C-0BB841533F85}"/>
                </a:ext>
              </a:extLst>
            </p:cNvPr>
            <p:cNvSpPr/>
            <p:nvPr/>
          </p:nvSpPr>
          <p:spPr>
            <a:xfrm>
              <a:off x="3361469" y="4044064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86" name="Graphique 923">
              <a:extLst>
                <a:ext uri="{FF2B5EF4-FFF2-40B4-BE49-F238E27FC236}">
                  <a16:creationId xmlns:a16="http://schemas.microsoft.com/office/drawing/2014/main" id="{4C63E684-CE13-700A-7722-793DB5869AE3}"/>
                </a:ext>
              </a:extLst>
            </p:cNvPr>
            <p:cNvGrpSpPr/>
            <p:nvPr/>
          </p:nvGrpSpPr>
          <p:grpSpPr>
            <a:xfrm>
              <a:off x="3342474" y="4166876"/>
              <a:ext cx="113968" cy="38641"/>
              <a:chOff x="3342474" y="4166876"/>
              <a:chExt cx="113968" cy="38641"/>
            </a:xfrm>
            <a:solidFill>
              <a:srgbClr val="00AAF0"/>
            </a:solidFill>
          </p:grpSpPr>
          <p:sp>
            <p:nvSpPr>
              <p:cNvPr id="109" name="Forme libre : forme 108">
                <a:extLst>
                  <a:ext uri="{FF2B5EF4-FFF2-40B4-BE49-F238E27FC236}">
                    <a16:creationId xmlns:a16="http://schemas.microsoft.com/office/drawing/2014/main" id="{6829519E-6D49-37EF-299D-39E7EDC7EC08}"/>
                  </a:ext>
                </a:extLst>
              </p:cNvPr>
              <p:cNvSpPr/>
              <p:nvPr/>
            </p:nvSpPr>
            <p:spPr>
              <a:xfrm>
                <a:off x="3342474" y="4166876"/>
                <a:ext cx="28491" cy="38641"/>
              </a:xfrm>
              <a:custGeom>
                <a:avLst/>
                <a:gdLst>
                  <a:gd name="connsiteX0" fmla="*/ 20894 w 28491"/>
                  <a:gd name="connsiteY0" fmla="*/ 13947 h 38641"/>
                  <a:gd name="connsiteX1" fmla="*/ 2296 w 28491"/>
                  <a:gd name="connsiteY1" fmla="*/ 0 h 38641"/>
                  <a:gd name="connsiteX2" fmla="*/ 0 w 28491"/>
                  <a:gd name="connsiteY2" fmla="*/ 8763 h 38641"/>
                  <a:gd name="connsiteX3" fmla="*/ 0 w 28491"/>
                  <a:gd name="connsiteY3" fmla="*/ 29144 h 38641"/>
                  <a:gd name="connsiteX4" fmla="*/ 9497 w 28491"/>
                  <a:gd name="connsiteY4" fmla="*/ 38641 h 38641"/>
                  <a:gd name="connsiteX5" fmla="*/ 28492 w 28491"/>
                  <a:gd name="connsiteY5" fmla="*/ 38641 h 38641"/>
                  <a:gd name="connsiteX6" fmla="*/ 28492 w 28491"/>
                  <a:gd name="connsiteY6" fmla="*/ 29144 h 38641"/>
                  <a:gd name="connsiteX7" fmla="*/ 20894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29144"/>
                    </a:lnTo>
                    <a:cubicBezTo>
                      <a:pt x="0" y="34389"/>
                      <a:pt x="4253" y="38641"/>
                      <a:pt x="9497" y="38641"/>
                    </a:cubicBezTo>
                    <a:lnTo>
                      <a:pt x="28492" y="38641"/>
                    </a:lnTo>
                    <a:lnTo>
                      <a:pt x="28492" y="29144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10" name="Forme libre : forme 109">
                <a:extLst>
                  <a:ext uri="{FF2B5EF4-FFF2-40B4-BE49-F238E27FC236}">
                    <a16:creationId xmlns:a16="http://schemas.microsoft.com/office/drawing/2014/main" id="{AFEB8A0D-556E-9AA9-E69F-869B59EE89F2}"/>
                  </a:ext>
                </a:extLst>
              </p:cNvPr>
              <p:cNvSpPr/>
              <p:nvPr/>
            </p:nvSpPr>
            <p:spPr>
              <a:xfrm>
                <a:off x="3427951" y="4166876"/>
                <a:ext cx="28491" cy="38641"/>
              </a:xfrm>
              <a:custGeom>
                <a:avLst/>
                <a:gdLst>
                  <a:gd name="connsiteX0" fmla="*/ 7598 w 28491"/>
                  <a:gd name="connsiteY0" fmla="*/ 13947 h 38641"/>
                  <a:gd name="connsiteX1" fmla="*/ 0 w 28491"/>
                  <a:gd name="connsiteY1" fmla="*/ 29144 h 38641"/>
                  <a:gd name="connsiteX2" fmla="*/ 0 w 28491"/>
                  <a:gd name="connsiteY2" fmla="*/ 38641 h 38641"/>
                  <a:gd name="connsiteX3" fmla="*/ 18995 w 28491"/>
                  <a:gd name="connsiteY3" fmla="*/ 38641 h 38641"/>
                  <a:gd name="connsiteX4" fmla="*/ 28492 w 28491"/>
                  <a:gd name="connsiteY4" fmla="*/ 29144 h 38641"/>
                  <a:gd name="connsiteX5" fmla="*/ 28492 w 28491"/>
                  <a:gd name="connsiteY5" fmla="*/ 8763 h 38641"/>
                  <a:gd name="connsiteX6" fmla="*/ 26196 w 28491"/>
                  <a:gd name="connsiteY6" fmla="*/ 0 h 38641"/>
                  <a:gd name="connsiteX7" fmla="*/ 7598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38641"/>
                    </a:lnTo>
                    <a:lnTo>
                      <a:pt x="18995" y="38641"/>
                    </a:lnTo>
                    <a:cubicBezTo>
                      <a:pt x="24239" y="38641"/>
                      <a:pt x="28492" y="34389"/>
                      <a:pt x="28492" y="29144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6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3074DA6B-1255-508D-6933-2C7F6CA15569}"/>
                </a:ext>
              </a:extLst>
            </p:cNvPr>
            <p:cNvSpPr/>
            <p:nvPr/>
          </p:nvSpPr>
          <p:spPr>
            <a:xfrm>
              <a:off x="3494429" y="4120042"/>
              <a:ext cx="113967" cy="66482"/>
            </a:xfrm>
            <a:custGeom>
              <a:avLst/>
              <a:gdLst>
                <a:gd name="connsiteX0" fmla="*/ 103469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9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9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8" y="48404"/>
                    <a:pt x="109904" y="41827"/>
                    <a:pt x="103469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42E1B54E-69F7-FB3F-6904-9DA0356C9C10}"/>
                </a:ext>
              </a:extLst>
            </p:cNvPr>
            <p:cNvSpPr/>
            <p:nvPr/>
          </p:nvSpPr>
          <p:spPr>
            <a:xfrm>
              <a:off x="3494430" y="4149989"/>
              <a:ext cx="113967" cy="55528"/>
            </a:xfrm>
            <a:custGeom>
              <a:avLst/>
              <a:gdLst>
                <a:gd name="connsiteX0" fmla="*/ 103467 w 113967"/>
                <a:gd name="connsiteY0" fmla="*/ 8662 h 55528"/>
                <a:gd name="connsiteX1" fmla="*/ 86144 w 113967"/>
                <a:gd name="connsiteY1" fmla="*/ 0 h 55528"/>
                <a:gd name="connsiteX2" fmla="*/ 56984 w 113967"/>
                <a:gd name="connsiteY2" fmla="*/ 13912 h 55528"/>
                <a:gd name="connsiteX3" fmla="*/ 27823 w 113967"/>
                <a:gd name="connsiteY3" fmla="*/ 0 h 55528"/>
                <a:gd name="connsiteX4" fmla="*/ 10500 w 113967"/>
                <a:gd name="connsiteY4" fmla="*/ 8662 h 55528"/>
                <a:gd name="connsiteX5" fmla="*/ 0 w 113967"/>
                <a:gd name="connsiteY5" fmla="*/ 25651 h 55528"/>
                <a:gd name="connsiteX6" fmla="*/ 0 w 113967"/>
                <a:gd name="connsiteY6" fmla="*/ 46031 h 55528"/>
                <a:gd name="connsiteX7" fmla="*/ 9497 w 113967"/>
                <a:gd name="connsiteY7" fmla="*/ 55529 h 55528"/>
                <a:gd name="connsiteX8" fmla="*/ 104470 w 113967"/>
                <a:gd name="connsiteY8" fmla="*/ 55529 h 55528"/>
                <a:gd name="connsiteX9" fmla="*/ 113967 w 113967"/>
                <a:gd name="connsiteY9" fmla="*/ 46031 h 55528"/>
                <a:gd name="connsiteX10" fmla="*/ 113967 w 113967"/>
                <a:gd name="connsiteY10" fmla="*/ 25651 h 55528"/>
                <a:gd name="connsiteX11" fmla="*/ 103467 w 113967"/>
                <a:gd name="connsiteY11" fmla="*/ 8662 h 5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967" h="55528">
                  <a:moveTo>
                    <a:pt x="103467" y="8662"/>
                  </a:moveTo>
                  <a:lnTo>
                    <a:pt x="86144" y="0"/>
                  </a:lnTo>
                  <a:cubicBezTo>
                    <a:pt x="79175" y="8428"/>
                    <a:pt x="68773" y="13912"/>
                    <a:pt x="56984" y="13912"/>
                  </a:cubicBezTo>
                  <a:cubicBezTo>
                    <a:pt x="45194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46031"/>
                  </a:lnTo>
                  <a:cubicBezTo>
                    <a:pt x="0" y="51276"/>
                    <a:pt x="4253" y="55529"/>
                    <a:pt x="9497" y="55529"/>
                  </a:cubicBezTo>
                  <a:lnTo>
                    <a:pt x="104470" y="55529"/>
                  </a:lnTo>
                  <a:cubicBezTo>
                    <a:pt x="109715" y="55529"/>
                    <a:pt x="113967" y="51276"/>
                    <a:pt x="113967" y="46031"/>
                  </a:cubicBezTo>
                  <a:lnTo>
                    <a:pt x="113967" y="25651"/>
                  </a:lnTo>
                  <a:cubicBezTo>
                    <a:pt x="113967" y="18457"/>
                    <a:pt x="109903" y="11880"/>
                    <a:pt x="103467" y="8662"/>
                  </a:cubicBezTo>
                  <a:close/>
                </a:path>
              </a:pathLst>
            </a:custGeom>
            <a:solidFill>
              <a:srgbClr val="582974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512CBAA2-FEC9-0F88-6398-C4397181147C}"/>
                </a:ext>
              </a:extLst>
            </p:cNvPr>
            <p:cNvSpPr/>
            <p:nvPr/>
          </p:nvSpPr>
          <p:spPr>
            <a:xfrm>
              <a:off x="3530582" y="4120042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6C404D8A-0BF2-8797-9570-A9383FC6E965}"/>
                </a:ext>
              </a:extLst>
            </p:cNvPr>
            <p:cNvSpPr/>
            <p:nvPr/>
          </p:nvSpPr>
          <p:spPr>
            <a:xfrm>
              <a:off x="3513425" y="4044064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70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845F39BC-EDB4-B816-FB88-75B1C2D1976A}"/>
                </a:ext>
              </a:extLst>
            </p:cNvPr>
            <p:cNvSpPr/>
            <p:nvPr/>
          </p:nvSpPr>
          <p:spPr>
            <a:xfrm>
              <a:off x="3513425" y="4044064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4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F3312526-D819-F788-541C-A1CEAA91FB5B}"/>
                </a:ext>
              </a:extLst>
            </p:cNvPr>
            <p:cNvSpPr/>
            <p:nvPr/>
          </p:nvSpPr>
          <p:spPr>
            <a:xfrm>
              <a:off x="3513425" y="4044064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A1E6AE5-A1F5-199C-0D13-DA8DB06A4FF2}"/>
                </a:ext>
              </a:extLst>
            </p:cNvPr>
            <p:cNvSpPr/>
            <p:nvPr/>
          </p:nvSpPr>
          <p:spPr>
            <a:xfrm>
              <a:off x="3513425" y="4044064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  <a:gd name="connsiteX7" fmla="*/ 28492 w 52234"/>
                <a:gd name="connsiteY7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94" name="Graphique 923">
              <a:extLst>
                <a:ext uri="{FF2B5EF4-FFF2-40B4-BE49-F238E27FC236}">
                  <a16:creationId xmlns:a16="http://schemas.microsoft.com/office/drawing/2014/main" id="{472C1141-EAF8-C4CB-D7FF-CCEF33B0C221}"/>
                </a:ext>
              </a:extLst>
            </p:cNvPr>
            <p:cNvGrpSpPr/>
            <p:nvPr/>
          </p:nvGrpSpPr>
          <p:grpSpPr>
            <a:xfrm>
              <a:off x="3494430" y="4166876"/>
              <a:ext cx="113967" cy="38641"/>
              <a:chOff x="3494430" y="4166876"/>
              <a:chExt cx="113967" cy="38641"/>
            </a:xfrm>
            <a:solidFill>
              <a:srgbClr val="00AAF0"/>
            </a:solidFill>
          </p:grpSpPr>
          <p:sp>
            <p:nvSpPr>
              <p:cNvPr id="107" name="Forme libre : forme 106">
                <a:extLst>
                  <a:ext uri="{FF2B5EF4-FFF2-40B4-BE49-F238E27FC236}">
                    <a16:creationId xmlns:a16="http://schemas.microsoft.com/office/drawing/2014/main" id="{F67DF9C1-F7B4-86B1-6889-DEBE7692AD73}"/>
                  </a:ext>
                </a:extLst>
              </p:cNvPr>
              <p:cNvSpPr/>
              <p:nvPr/>
            </p:nvSpPr>
            <p:spPr>
              <a:xfrm>
                <a:off x="3494430" y="4166876"/>
                <a:ext cx="28491" cy="38641"/>
              </a:xfrm>
              <a:custGeom>
                <a:avLst/>
                <a:gdLst>
                  <a:gd name="connsiteX0" fmla="*/ 20894 w 28491"/>
                  <a:gd name="connsiteY0" fmla="*/ 13947 h 38641"/>
                  <a:gd name="connsiteX1" fmla="*/ 2296 w 28491"/>
                  <a:gd name="connsiteY1" fmla="*/ 0 h 38641"/>
                  <a:gd name="connsiteX2" fmla="*/ 0 w 28491"/>
                  <a:gd name="connsiteY2" fmla="*/ 8763 h 38641"/>
                  <a:gd name="connsiteX3" fmla="*/ 0 w 28491"/>
                  <a:gd name="connsiteY3" fmla="*/ 29144 h 38641"/>
                  <a:gd name="connsiteX4" fmla="*/ 9497 w 28491"/>
                  <a:gd name="connsiteY4" fmla="*/ 38641 h 38641"/>
                  <a:gd name="connsiteX5" fmla="*/ 28492 w 28491"/>
                  <a:gd name="connsiteY5" fmla="*/ 38641 h 38641"/>
                  <a:gd name="connsiteX6" fmla="*/ 28492 w 28491"/>
                  <a:gd name="connsiteY6" fmla="*/ 29144 h 38641"/>
                  <a:gd name="connsiteX7" fmla="*/ 20894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29144"/>
                    </a:lnTo>
                    <a:cubicBezTo>
                      <a:pt x="0" y="34389"/>
                      <a:pt x="4253" y="38641"/>
                      <a:pt x="9497" y="38641"/>
                    </a:cubicBezTo>
                    <a:lnTo>
                      <a:pt x="28492" y="38641"/>
                    </a:lnTo>
                    <a:lnTo>
                      <a:pt x="28492" y="29144"/>
                    </a:lnTo>
                    <a:cubicBezTo>
                      <a:pt x="28492" y="23165"/>
                      <a:pt x="25677" y="17535"/>
                      <a:pt x="20894" y="13947"/>
                    </a:cubicBez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08" name="Forme libre : forme 107">
                <a:extLst>
                  <a:ext uri="{FF2B5EF4-FFF2-40B4-BE49-F238E27FC236}">
                    <a16:creationId xmlns:a16="http://schemas.microsoft.com/office/drawing/2014/main" id="{2057F041-7353-4317-09D0-7DA84E2DF699}"/>
                  </a:ext>
                </a:extLst>
              </p:cNvPr>
              <p:cNvSpPr/>
              <p:nvPr/>
            </p:nvSpPr>
            <p:spPr>
              <a:xfrm>
                <a:off x="3579906" y="4166876"/>
                <a:ext cx="28491" cy="38641"/>
              </a:xfrm>
              <a:custGeom>
                <a:avLst/>
                <a:gdLst>
                  <a:gd name="connsiteX0" fmla="*/ 7598 w 28491"/>
                  <a:gd name="connsiteY0" fmla="*/ 13947 h 38641"/>
                  <a:gd name="connsiteX1" fmla="*/ 0 w 28491"/>
                  <a:gd name="connsiteY1" fmla="*/ 29144 h 38641"/>
                  <a:gd name="connsiteX2" fmla="*/ 0 w 28491"/>
                  <a:gd name="connsiteY2" fmla="*/ 38641 h 38641"/>
                  <a:gd name="connsiteX3" fmla="*/ 18995 w 28491"/>
                  <a:gd name="connsiteY3" fmla="*/ 38641 h 38641"/>
                  <a:gd name="connsiteX4" fmla="*/ 28492 w 28491"/>
                  <a:gd name="connsiteY4" fmla="*/ 29144 h 38641"/>
                  <a:gd name="connsiteX5" fmla="*/ 28492 w 28491"/>
                  <a:gd name="connsiteY5" fmla="*/ 8763 h 38641"/>
                  <a:gd name="connsiteX6" fmla="*/ 26195 w 28491"/>
                  <a:gd name="connsiteY6" fmla="*/ 0 h 38641"/>
                  <a:gd name="connsiteX7" fmla="*/ 7598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38641"/>
                    </a:lnTo>
                    <a:lnTo>
                      <a:pt x="18995" y="38641"/>
                    </a:lnTo>
                    <a:cubicBezTo>
                      <a:pt x="24239" y="38641"/>
                      <a:pt x="28492" y="34389"/>
                      <a:pt x="28492" y="29144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5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921001B5-097F-CA7C-A3D2-B1928C956416}"/>
                </a:ext>
              </a:extLst>
            </p:cNvPr>
            <p:cNvSpPr/>
            <p:nvPr/>
          </p:nvSpPr>
          <p:spPr>
            <a:xfrm>
              <a:off x="3646386" y="4120042"/>
              <a:ext cx="113967" cy="66482"/>
            </a:xfrm>
            <a:custGeom>
              <a:avLst/>
              <a:gdLst>
                <a:gd name="connsiteX0" fmla="*/ 103468 w 113967"/>
                <a:gd name="connsiteY0" fmla="*/ 38610 h 66482"/>
                <a:gd name="connsiteX1" fmla="*/ 81229 w 113967"/>
                <a:gd name="connsiteY1" fmla="*/ 27489 h 66482"/>
                <a:gd name="connsiteX2" fmla="*/ 75979 w 113967"/>
                <a:gd name="connsiteY2" fmla="*/ 18995 h 66482"/>
                <a:gd name="connsiteX3" fmla="*/ 75979 w 113967"/>
                <a:gd name="connsiteY3" fmla="*/ 0 h 66482"/>
                <a:gd name="connsiteX4" fmla="*/ 37990 w 113967"/>
                <a:gd name="connsiteY4" fmla="*/ 0 h 66482"/>
                <a:gd name="connsiteX5" fmla="*/ 37990 w 113967"/>
                <a:gd name="connsiteY5" fmla="*/ 18995 h 66482"/>
                <a:gd name="connsiteX6" fmla="*/ 32740 w 113967"/>
                <a:gd name="connsiteY6" fmla="*/ 27489 h 66482"/>
                <a:gd name="connsiteX7" fmla="*/ 10500 w 113967"/>
                <a:gd name="connsiteY7" fmla="*/ 38610 h 66482"/>
                <a:gd name="connsiteX8" fmla="*/ 0 w 113967"/>
                <a:gd name="connsiteY8" fmla="*/ 55598 h 66482"/>
                <a:gd name="connsiteX9" fmla="*/ 0 w 113967"/>
                <a:gd name="connsiteY9" fmla="*/ 66482 h 66482"/>
                <a:gd name="connsiteX10" fmla="*/ 113967 w 113967"/>
                <a:gd name="connsiteY10" fmla="*/ 66482 h 66482"/>
                <a:gd name="connsiteX11" fmla="*/ 113967 w 113967"/>
                <a:gd name="connsiteY11" fmla="*/ 55598 h 66482"/>
                <a:gd name="connsiteX12" fmla="*/ 103468 w 113967"/>
                <a:gd name="connsiteY12" fmla="*/ 38610 h 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67" h="66482">
                  <a:moveTo>
                    <a:pt x="103468" y="38610"/>
                  </a:moveTo>
                  <a:lnTo>
                    <a:pt x="81229" y="27489"/>
                  </a:lnTo>
                  <a:cubicBezTo>
                    <a:pt x="78012" y="25881"/>
                    <a:pt x="75979" y="22593"/>
                    <a:pt x="75979" y="18995"/>
                  </a:cubicBezTo>
                  <a:lnTo>
                    <a:pt x="75979" y="0"/>
                  </a:lnTo>
                  <a:lnTo>
                    <a:pt x="37990" y="0"/>
                  </a:lnTo>
                  <a:lnTo>
                    <a:pt x="37990" y="18995"/>
                  </a:lnTo>
                  <a:cubicBezTo>
                    <a:pt x="37990" y="22592"/>
                    <a:pt x="35958" y="25881"/>
                    <a:pt x="32740" y="27489"/>
                  </a:cubicBezTo>
                  <a:lnTo>
                    <a:pt x="10500" y="38610"/>
                  </a:lnTo>
                  <a:cubicBezTo>
                    <a:pt x="4066" y="41827"/>
                    <a:pt x="0" y="48404"/>
                    <a:pt x="0" y="55598"/>
                  </a:cubicBezTo>
                  <a:lnTo>
                    <a:pt x="0" y="66482"/>
                  </a:lnTo>
                  <a:lnTo>
                    <a:pt x="113967" y="66482"/>
                  </a:lnTo>
                  <a:lnTo>
                    <a:pt x="113967" y="55598"/>
                  </a:lnTo>
                  <a:cubicBezTo>
                    <a:pt x="113968" y="48404"/>
                    <a:pt x="109903" y="41827"/>
                    <a:pt x="103468" y="38610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EEB4D76F-3A47-3527-9506-31203E0E881E}"/>
                </a:ext>
              </a:extLst>
            </p:cNvPr>
            <p:cNvSpPr/>
            <p:nvPr/>
          </p:nvSpPr>
          <p:spPr>
            <a:xfrm>
              <a:off x="3646387" y="4149989"/>
              <a:ext cx="113967" cy="55528"/>
            </a:xfrm>
            <a:custGeom>
              <a:avLst/>
              <a:gdLst>
                <a:gd name="connsiteX0" fmla="*/ 103467 w 113967"/>
                <a:gd name="connsiteY0" fmla="*/ 8662 h 55528"/>
                <a:gd name="connsiteX1" fmla="*/ 86144 w 113967"/>
                <a:gd name="connsiteY1" fmla="*/ 0 h 55528"/>
                <a:gd name="connsiteX2" fmla="*/ 56984 w 113967"/>
                <a:gd name="connsiteY2" fmla="*/ 13912 h 55528"/>
                <a:gd name="connsiteX3" fmla="*/ 27823 w 113967"/>
                <a:gd name="connsiteY3" fmla="*/ 0 h 55528"/>
                <a:gd name="connsiteX4" fmla="*/ 10500 w 113967"/>
                <a:gd name="connsiteY4" fmla="*/ 8662 h 55528"/>
                <a:gd name="connsiteX5" fmla="*/ 0 w 113967"/>
                <a:gd name="connsiteY5" fmla="*/ 25651 h 55528"/>
                <a:gd name="connsiteX6" fmla="*/ 0 w 113967"/>
                <a:gd name="connsiteY6" fmla="*/ 46031 h 55528"/>
                <a:gd name="connsiteX7" fmla="*/ 9497 w 113967"/>
                <a:gd name="connsiteY7" fmla="*/ 55529 h 55528"/>
                <a:gd name="connsiteX8" fmla="*/ 104470 w 113967"/>
                <a:gd name="connsiteY8" fmla="*/ 55529 h 55528"/>
                <a:gd name="connsiteX9" fmla="*/ 113967 w 113967"/>
                <a:gd name="connsiteY9" fmla="*/ 46031 h 55528"/>
                <a:gd name="connsiteX10" fmla="*/ 113967 w 113967"/>
                <a:gd name="connsiteY10" fmla="*/ 25651 h 55528"/>
                <a:gd name="connsiteX11" fmla="*/ 103467 w 113967"/>
                <a:gd name="connsiteY11" fmla="*/ 8662 h 5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967" h="55528">
                  <a:moveTo>
                    <a:pt x="103467" y="8662"/>
                  </a:moveTo>
                  <a:lnTo>
                    <a:pt x="86144" y="0"/>
                  </a:lnTo>
                  <a:cubicBezTo>
                    <a:pt x="79176" y="8428"/>
                    <a:pt x="68773" y="13912"/>
                    <a:pt x="56984" y="13912"/>
                  </a:cubicBezTo>
                  <a:cubicBezTo>
                    <a:pt x="45194" y="13912"/>
                    <a:pt x="34791" y="8428"/>
                    <a:pt x="27823" y="0"/>
                  </a:cubicBezTo>
                  <a:lnTo>
                    <a:pt x="10500" y="8662"/>
                  </a:lnTo>
                  <a:cubicBezTo>
                    <a:pt x="4066" y="11879"/>
                    <a:pt x="0" y="18456"/>
                    <a:pt x="0" y="25651"/>
                  </a:cubicBezTo>
                  <a:lnTo>
                    <a:pt x="0" y="46031"/>
                  </a:lnTo>
                  <a:cubicBezTo>
                    <a:pt x="0" y="51276"/>
                    <a:pt x="4253" y="55529"/>
                    <a:pt x="9497" y="55529"/>
                  </a:cubicBezTo>
                  <a:lnTo>
                    <a:pt x="104470" y="55529"/>
                  </a:lnTo>
                  <a:cubicBezTo>
                    <a:pt x="109715" y="55529"/>
                    <a:pt x="113967" y="51276"/>
                    <a:pt x="113967" y="46031"/>
                  </a:cubicBezTo>
                  <a:lnTo>
                    <a:pt x="113967" y="25651"/>
                  </a:lnTo>
                  <a:cubicBezTo>
                    <a:pt x="113967" y="18457"/>
                    <a:pt x="109902" y="11880"/>
                    <a:pt x="103467" y="8662"/>
                  </a:cubicBezTo>
                  <a:close/>
                </a:path>
              </a:pathLst>
            </a:custGeom>
            <a:solidFill>
              <a:srgbClr val="582974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E7232068-6B52-5A23-6E91-72BF8F3605C2}"/>
                </a:ext>
              </a:extLst>
            </p:cNvPr>
            <p:cNvSpPr/>
            <p:nvPr/>
          </p:nvSpPr>
          <p:spPr>
            <a:xfrm>
              <a:off x="3682539" y="4120042"/>
              <a:ext cx="41663" cy="28491"/>
            </a:xfrm>
            <a:custGeom>
              <a:avLst/>
              <a:gdLst>
                <a:gd name="connsiteX0" fmla="*/ 1837 w 41663"/>
                <a:gd name="connsiteY0" fmla="*/ 0 h 28491"/>
                <a:gd name="connsiteX1" fmla="*/ 1837 w 41663"/>
                <a:gd name="connsiteY1" fmla="*/ 18995 h 28491"/>
                <a:gd name="connsiteX2" fmla="*/ 0 w 41663"/>
                <a:gd name="connsiteY2" fmla="*/ 24494 h 28491"/>
                <a:gd name="connsiteX3" fmla="*/ 20832 w 41663"/>
                <a:gd name="connsiteY3" fmla="*/ 28492 h 28491"/>
                <a:gd name="connsiteX4" fmla="*/ 41663 w 41663"/>
                <a:gd name="connsiteY4" fmla="*/ 24494 h 28491"/>
                <a:gd name="connsiteX5" fmla="*/ 39826 w 41663"/>
                <a:gd name="connsiteY5" fmla="*/ 18995 h 28491"/>
                <a:gd name="connsiteX6" fmla="*/ 39826 w 41663"/>
                <a:gd name="connsiteY6" fmla="*/ 0 h 28491"/>
                <a:gd name="connsiteX7" fmla="*/ 1837 w 41663"/>
                <a:gd name="connsiteY7" fmla="*/ 0 h 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63" h="28491">
                  <a:moveTo>
                    <a:pt x="1837" y="0"/>
                  </a:moveTo>
                  <a:lnTo>
                    <a:pt x="1837" y="18995"/>
                  </a:lnTo>
                  <a:cubicBezTo>
                    <a:pt x="1837" y="21021"/>
                    <a:pt x="1138" y="22908"/>
                    <a:pt x="0" y="24494"/>
                  </a:cubicBezTo>
                  <a:cubicBezTo>
                    <a:pt x="6461" y="27044"/>
                    <a:pt x="13475" y="28492"/>
                    <a:pt x="20832" y="28492"/>
                  </a:cubicBezTo>
                  <a:cubicBezTo>
                    <a:pt x="28188" y="28492"/>
                    <a:pt x="35202" y="27044"/>
                    <a:pt x="41663" y="24494"/>
                  </a:cubicBezTo>
                  <a:cubicBezTo>
                    <a:pt x="40525" y="22908"/>
                    <a:pt x="39826" y="21021"/>
                    <a:pt x="39826" y="18995"/>
                  </a:cubicBezTo>
                  <a:lnTo>
                    <a:pt x="39826" y="0"/>
                  </a:lnTo>
                  <a:lnTo>
                    <a:pt x="1837" y="0"/>
                  </a:lnTo>
                  <a:close/>
                </a:path>
              </a:pathLst>
            </a:custGeom>
            <a:solidFill>
              <a:srgbClr val="D29B6E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448B35A2-06FF-974B-6079-62B24B36B842}"/>
                </a:ext>
              </a:extLst>
            </p:cNvPr>
            <p:cNvSpPr/>
            <p:nvPr/>
          </p:nvSpPr>
          <p:spPr>
            <a:xfrm>
              <a:off x="3665381" y="4044064"/>
              <a:ext cx="75978" cy="85475"/>
            </a:xfrm>
            <a:custGeom>
              <a:avLst/>
              <a:gdLst>
                <a:gd name="connsiteX0" fmla="*/ 37989 w 75978"/>
                <a:gd name="connsiteY0" fmla="*/ 85475 h 85475"/>
                <a:gd name="connsiteX1" fmla="*/ 37989 w 75978"/>
                <a:gd name="connsiteY1" fmla="*/ 85475 h 85475"/>
                <a:gd name="connsiteX2" fmla="*/ 0 w 75978"/>
                <a:gd name="connsiteY2" fmla="*/ 47486 h 85475"/>
                <a:gd name="connsiteX3" fmla="*/ 0 w 75978"/>
                <a:gd name="connsiteY3" fmla="*/ 28492 h 85475"/>
                <a:gd name="connsiteX4" fmla="*/ 28492 w 75978"/>
                <a:gd name="connsiteY4" fmla="*/ 0 h 85475"/>
                <a:gd name="connsiteX5" fmla="*/ 47486 w 75978"/>
                <a:gd name="connsiteY5" fmla="*/ 0 h 85475"/>
                <a:gd name="connsiteX6" fmla="*/ 75978 w 75978"/>
                <a:gd name="connsiteY6" fmla="*/ 28492 h 85475"/>
                <a:gd name="connsiteX7" fmla="*/ 75978 w 75978"/>
                <a:gd name="connsiteY7" fmla="*/ 47486 h 85475"/>
                <a:gd name="connsiteX8" fmla="*/ 37989 w 75978"/>
                <a:gd name="connsiteY8" fmla="*/ 85475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978" h="85475">
                  <a:moveTo>
                    <a:pt x="37989" y="85475"/>
                  </a:moveTo>
                  <a:lnTo>
                    <a:pt x="37989" y="85475"/>
                  </a:lnTo>
                  <a:cubicBezTo>
                    <a:pt x="17008" y="85475"/>
                    <a:pt x="0" y="68468"/>
                    <a:pt x="0" y="47486"/>
                  </a:cubicBezTo>
                  <a:lnTo>
                    <a:pt x="0" y="28492"/>
                  </a:lnTo>
                  <a:cubicBezTo>
                    <a:pt x="0" y="12757"/>
                    <a:pt x="12757" y="0"/>
                    <a:pt x="28492" y="0"/>
                  </a:cubicBezTo>
                  <a:lnTo>
                    <a:pt x="47486" y="0"/>
                  </a:lnTo>
                  <a:cubicBezTo>
                    <a:pt x="63222" y="0"/>
                    <a:pt x="75978" y="12757"/>
                    <a:pt x="75978" y="28492"/>
                  </a:cubicBezTo>
                  <a:lnTo>
                    <a:pt x="75978" y="47486"/>
                  </a:lnTo>
                  <a:cubicBezTo>
                    <a:pt x="75978" y="68468"/>
                    <a:pt x="58969" y="85475"/>
                    <a:pt x="37989" y="85475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F7CD002A-3DD0-F3E6-229B-17FB05BB692B}"/>
                </a:ext>
              </a:extLst>
            </p:cNvPr>
            <p:cNvSpPr/>
            <p:nvPr/>
          </p:nvSpPr>
          <p:spPr>
            <a:xfrm>
              <a:off x="3665381" y="4044064"/>
              <a:ext cx="52234" cy="85475"/>
            </a:xfrm>
            <a:custGeom>
              <a:avLst/>
              <a:gdLst>
                <a:gd name="connsiteX0" fmla="*/ 28492 w 52234"/>
                <a:gd name="connsiteY0" fmla="*/ 47486 h 85475"/>
                <a:gd name="connsiteX1" fmla="*/ 28492 w 52234"/>
                <a:gd name="connsiteY1" fmla="*/ 28492 h 85475"/>
                <a:gd name="connsiteX2" fmla="*/ 52234 w 52234"/>
                <a:gd name="connsiteY2" fmla="*/ 479 h 85475"/>
                <a:gd name="connsiteX3" fmla="*/ 47486 w 52234"/>
                <a:gd name="connsiteY3" fmla="*/ 0 h 85475"/>
                <a:gd name="connsiteX4" fmla="*/ 28492 w 52234"/>
                <a:gd name="connsiteY4" fmla="*/ 0 h 85475"/>
                <a:gd name="connsiteX5" fmla="*/ 0 w 52234"/>
                <a:gd name="connsiteY5" fmla="*/ 28492 h 85475"/>
                <a:gd name="connsiteX6" fmla="*/ 0 w 52234"/>
                <a:gd name="connsiteY6" fmla="*/ 47486 h 85475"/>
                <a:gd name="connsiteX7" fmla="*/ 37989 w 52234"/>
                <a:gd name="connsiteY7" fmla="*/ 85475 h 85475"/>
                <a:gd name="connsiteX8" fmla="*/ 52234 w 52234"/>
                <a:gd name="connsiteY8" fmla="*/ 82658 h 85475"/>
                <a:gd name="connsiteX9" fmla="*/ 28492 w 52234"/>
                <a:gd name="connsiteY9" fmla="*/ 47486 h 8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34" h="85475">
                  <a:moveTo>
                    <a:pt x="28492" y="47486"/>
                  </a:moveTo>
                  <a:lnTo>
                    <a:pt x="28492" y="28492"/>
                  </a:ln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47486"/>
                  </a:lnTo>
                  <a:cubicBezTo>
                    <a:pt x="0" y="68466"/>
                    <a:pt x="17008" y="85475"/>
                    <a:pt x="37989" y="85475"/>
                  </a:cubicBezTo>
                  <a:cubicBezTo>
                    <a:pt x="43035" y="85475"/>
                    <a:pt x="47830" y="84445"/>
                    <a:pt x="52234" y="82658"/>
                  </a:cubicBezTo>
                  <a:cubicBezTo>
                    <a:pt x="38323" y="77017"/>
                    <a:pt x="28492" y="63421"/>
                    <a:pt x="28492" y="47486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32980946-8081-54EE-0FC7-B5EBA8029FDA}"/>
                </a:ext>
              </a:extLst>
            </p:cNvPr>
            <p:cNvSpPr/>
            <p:nvPr/>
          </p:nvSpPr>
          <p:spPr>
            <a:xfrm>
              <a:off x="3665381" y="4044064"/>
              <a:ext cx="75978" cy="37989"/>
            </a:xfrm>
            <a:custGeom>
              <a:avLst/>
              <a:gdLst>
                <a:gd name="connsiteX0" fmla="*/ 0 w 75978"/>
                <a:gd name="connsiteY0" fmla="*/ 28492 h 37989"/>
                <a:gd name="connsiteX1" fmla="*/ 75978 w 75978"/>
                <a:gd name="connsiteY1" fmla="*/ 37989 h 37989"/>
                <a:gd name="connsiteX2" fmla="*/ 75978 w 75978"/>
                <a:gd name="connsiteY2" fmla="*/ 28492 h 37989"/>
                <a:gd name="connsiteX3" fmla="*/ 47486 w 75978"/>
                <a:gd name="connsiteY3" fmla="*/ 0 h 37989"/>
                <a:gd name="connsiteX4" fmla="*/ 28492 w 75978"/>
                <a:gd name="connsiteY4" fmla="*/ 0 h 37989"/>
                <a:gd name="connsiteX5" fmla="*/ 0 w 75978"/>
                <a:gd name="connsiteY5" fmla="*/ 28492 h 37989"/>
                <a:gd name="connsiteX6" fmla="*/ 0 w 75978"/>
                <a:gd name="connsiteY6" fmla="*/ 28492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78" h="37989">
                  <a:moveTo>
                    <a:pt x="0" y="28492"/>
                  </a:moveTo>
                  <a:cubicBezTo>
                    <a:pt x="0" y="28492"/>
                    <a:pt x="28492" y="37989"/>
                    <a:pt x="75978" y="37989"/>
                  </a:cubicBezTo>
                  <a:lnTo>
                    <a:pt x="75978" y="28492"/>
                  </a:lnTo>
                  <a:cubicBezTo>
                    <a:pt x="75978" y="12757"/>
                    <a:pt x="6322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lnTo>
                    <a:pt x="0" y="28492"/>
                  </a:lnTo>
                  <a:close/>
                </a:path>
              </a:pathLst>
            </a:custGeom>
            <a:solidFill>
              <a:srgbClr val="694B4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DC212E2D-33A4-D11E-5175-1241FFF28F06}"/>
                </a:ext>
              </a:extLst>
            </p:cNvPr>
            <p:cNvSpPr/>
            <p:nvPr/>
          </p:nvSpPr>
          <p:spPr>
            <a:xfrm>
              <a:off x="3665381" y="4044064"/>
              <a:ext cx="52234" cy="34596"/>
            </a:xfrm>
            <a:custGeom>
              <a:avLst/>
              <a:gdLst>
                <a:gd name="connsiteX0" fmla="*/ 28492 w 52234"/>
                <a:gd name="connsiteY0" fmla="*/ 28492 h 34596"/>
                <a:gd name="connsiteX1" fmla="*/ 52234 w 52234"/>
                <a:gd name="connsiteY1" fmla="*/ 479 h 34596"/>
                <a:gd name="connsiteX2" fmla="*/ 47486 w 52234"/>
                <a:gd name="connsiteY2" fmla="*/ 0 h 34596"/>
                <a:gd name="connsiteX3" fmla="*/ 28492 w 52234"/>
                <a:gd name="connsiteY3" fmla="*/ 0 h 34596"/>
                <a:gd name="connsiteX4" fmla="*/ 0 w 52234"/>
                <a:gd name="connsiteY4" fmla="*/ 28492 h 34596"/>
                <a:gd name="connsiteX5" fmla="*/ 28492 w 52234"/>
                <a:gd name="connsiteY5" fmla="*/ 34597 h 34596"/>
                <a:gd name="connsiteX6" fmla="*/ 28492 w 52234"/>
                <a:gd name="connsiteY6" fmla="*/ 28492 h 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234" h="34596">
                  <a:moveTo>
                    <a:pt x="28492" y="28492"/>
                  </a:moveTo>
                  <a:cubicBezTo>
                    <a:pt x="28492" y="14383"/>
                    <a:pt x="38772" y="2750"/>
                    <a:pt x="52234" y="479"/>
                  </a:cubicBezTo>
                  <a:cubicBezTo>
                    <a:pt x="50683" y="217"/>
                    <a:pt x="49112" y="0"/>
                    <a:pt x="47486" y="0"/>
                  </a:cubicBezTo>
                  <a:lnTo>
                    <a:pt x="28492" y="0"/>
                  </a:lnTo>
                  <a:cubicBezTo>
                    <a:pt x="12757" y="0"/>
                    <a:pt x="0" y="12757"/>
                    <a:pt x="0" y="28492"/>
                  </a:cubicBezTo>
                  <a:cubicBezTo>
                    <a:pt x="0" y="28492"/>
                    <a:pt x="10215" y="31869"/>
                    <a:pt x="28492" y="34597"/>
                  </a:cubicBezTo>
                  <a:lnTo>
                    <a:pt x="28492" y="28492"/>
                  </a:lnTo>
                  <a:close/>
                </a:path>
              </a:pathLst>
            </a:custGeom>
            <a:solidFill>
              <a:srgbClr val="5A414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102" name="Graphique 923">
              <a:extLst>
                <a:ext uri="{FF2B5EF4-FFF2-40B4-BE49-F238E27FC236}">
                  <a16:creationId xmlns:a16="http://schemas.microsoft.com/office/drawing/2014/main" id="{6711150C-9EA9-B071-5F7F-093BDBD3BA28}"/>
                </a:ext>
              </a:extLst>
            </p:cNvPr>
            <p:cNvGrpSpPr/>
            <p:nvPr/>
          </p:nvGrpSpPr>
          <p:grpSpPr>
            <a:xfrm>
              <a:off x="3646386" y="4166876"/>
              <a:ext cx="113968" cy="38641"/>
              <a:chOff x="3646386" y="4166876"/>
              <a:chExt cx="113968" cy="38641"/>
            </a:xfrm>
            <a:solidFill>
              <a:srgbClr val="00AAF0"/>
            </a:solidFill>
          </p:grpSpPr>
          <p:sp>
            <p:nvSpPr>
              <p:cNvPr id="105" name="Forme libre : forme 104">
                <a:extLst>
                  <a:ext uri="{FF2B5EF4-FFF2-40B4-BE49-F238E27FC236}">
                    <a16:creationId xmlns:a16="http://schemas.microsoft.com/office/drawing/2014/main" id="{46AA6BFE-DF62-6040-F8F7-F61A234700D5}"/>
                  </a:ext>
                </a:extLst>
              </p:cNvPr>
              <p:cNvSpPr/>
              <p:nvPr/>
            </p:nvSpPr>
            <p:spPr>
              <a:xfrm>
                <a:off x="3646386" y="4166876"/>
                <a:ext cx="28491" cy="38641"/>
              </a:xfrm>
              <a:custGeom>
                <a:avLst/>
                <a:gdLst>
                  <a:gd name="connsiteX0" fmla="*/ 20894 w 28491"/>
                  <a:gd name="connsiteY0" fmla="*/ 13947 h 38641"/>
                  <a:gd name="connsiteX1" fmla="*/ 2296 w 28491"/>
                  <a:gd name="connsiteY1" fmla="*/ 0 h 38641"/>
                  <a:gd name="connsiteX2" fmla="*/ 0 w 28491"/>
                  <a:gd name="connsiteY2" fmla="*/ 8763 h 38641"/>
                  <a:gd name="connsiteX3" fmla="*/ 0 w 28491"/>
                  <a:gd name="connsiteY3" fmla="*/ 29144 h 38641"/>
                  <a:gd name="connsiteX4" fmla="*/ 9497 w 28491"/>
                  <a:gd name="connsiteY4" fmla="*/ 38641 h 38641"/>
                  <a:gd name="connsiteX5" fmla="*/ 28492 w 28491"/>
                  <a:gd name="connsiteY5" fmla="*/ 38641 h 38641"/>
                  <a:gd name="connsiteX6" fmla="*/ 28492 w 28491"/>
                  <a:gd name="connsiteY6" fmla="*/ 29144 h 38641"/>
                  <a:gd name="connsiteX7" fmla="*/ 20894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20894" y="13947"/>
                    </a:moveTo>
                    <a:lnTo>
                      <a:pt x="2296" y="0"/>
                    </a:lnTo>
                    <a:cubicBezTo>
                      <a:pt x="894" y="2673"/>
                      <a:pt x="0" y="5629"/>
                      <a:pt x="0" y="8763"/>
                    </a:cubicBezTo>
                    <a:lnTo>
                      <a:pt x="0" y="29144"/>
                    </a:lnTo>
                    <a:cubicBezTo>
                      <a:pt x="0" y="34389"/>
                      <a:pt x="4253" y="38641"/>
                      <a:pt x="9497" y="38641"/>
                    </a:cubicBezTo>
                    <a:lnTo>
                      <a:pt x="28492" y="38641"/>
                    </a:lnTo>
                    <a:lnTo>
                      <a:pt x="28492" y="29144"/>
                    </a:lnTo>
                    <a:cubicBezTo>
                      <a:pt x="28493" y="23165"/>
                      <a:pt x="25678" y="17535"/>
                      <a:pt x="20894" y="13947"/>
                    </a:cubicBez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106" name="Forme libre : forme 105">
                <a:extLst>
                  <a:ext uri="{FF2B5EF4-FFF2-40B4-BE49-F238E27FC236}">
                    <a16:creationId xmlns:a16="http://schemas.microsoft.com/office/drawing/2014/main" id="{D11B5FBC-1ED8-656A-36DA-5E953F93C50B}"/>
                  </a:ext>
                </a:extLst>
              </p:cNvPr>
              <p:cNvSpPr/>
              <p:nvPr/>
            </p:nvSpPr>
            <p:spPr>
              <a:xfrm>
                <a:off x="3731862" y="4166876"/>
                <a:ext cx="28491" cy="38641"/>
              </a:xfrm>
              <a:custGeom>
                <a:avLst/>
                <a:gdLst>
                  <a:gd name="connsiteX0" fmla="*/ 7598 w 28491"/>
                  <a:gd name="connsiteY0" fmla="*/ 13947 h 38641"/>
                  <a:gd name="connsiteX1" fmla="*/ 0 w 28491"/>
                  <a:gd name="connsiteY1" fmla="*/ 29144 h 38641"/>
                  <a:gd name="connsiteX2" fmla="*/ 0 w 28491"/>
                  <a:gd name="connsiteY2" fmla="*/ 38641 h 38641"/>
                  <a:gd name="connsiteX3" fmla="*/ 18995 w 28491"/>
                  <a:gd name="connsiteY3" fmla="*/ 38641 h 38641"/>
                  <a:gd name="connsiteX4" fmla="*/ 28492 w 28491"/>
                  <a:gd name="connsiteY4" fmla="*/ 29144 h 38641"/>
                  <a:gd name="connsiteX5" fmla="*/ 28492 w 28491"/>
                  <a:gd name="connsiteY5" fmla="*/ 8763 h 38641"/>
                  <a:gd name="connsiteX6" fmla="*/ 26196 w 28491"/>
                  <a:gd name="connsiteY6" fmla="*/ 0 h 38641"/>
                  <a:gd name="connsiteX7" fmla="*/ 7598 w 28491"/>
                  <a:gd name="connsiteY7" fmla="*/ 13947 h 3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491" h="38641">
                    <a:moveTo>
                      <a:pt x="7598" y="13947"/>
                    </a:moveTo>
                    <a:cubicBezTo>
                      <a:pt x="2815" y="17535"/>
                      <a:pt x="0" y="23165"/>
                      <a:pt x="0" y="29144"/>
                    </a:cubicBezTo>
                    <a:lnTo>
                      <a:pt x="0" y="38641"/>
                    </a:lnTo>
                    <a:lnTo>
                      <a:pt x="18995" y="38641"/>
                    </a:lnTo>
                    <a:cubicBezTo>
                      <a:pt x="24239" y="38641"/>
                      <a:pt x="28492" y="34389"/>
                      <a:pt x="28492" y="29144"/>
                    </a:cubicBezTo>
                    <a:lnTo>
                      <a:pt x="28492" y="8763"/>
                    </a:lnTo>
                    <a:cubicBezTo>
                      <a:pt x="28492" y="5629"/>
                      <a:pt x="27599" y="2673"/>
                      <a:pt x="26196" y="0"/>
                    </a:cubicBezTo>
                    <a:lnTo>
                      <a:pt x="7598" y="13947"/>
                    </a:lnTo>
                    <a:close/>
                  </a:path>
                </a:pathLst>
              </a:custGeom>
              <a:solidFill>
                <a:srgbClr val="9258A2"/>
              </a:solidFill>
              <a:ln w="1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14F48D06-A6CE-92BC-C49D-9D31A384F9FD}"/>
                </a:ext>
              </a:extLst>
            </p:cNvPr>
            <p:cNvSpPr/>
            <p:nvPr/>
          </p:nvSpPr>
          <p:spPr>
            <a:xfrm>
              <a:off x="3617895" y="3806633"/>
              <a:ext cx="47486" cy="37989"/>
            </a:xfrm>
            <a:custGeom>
              <a:avLst/>
              <a:gdLst>
                <a:gd name="connsiteX0" fmla="*/ 28492 w 47486"/>
                <a:gd name="connsiteY0" fmla="*/ 37989 h 37989"/>
                <a:gd name="connsiteX1" fmla="*/ 18995 w 47486"/>
                <a:gd name="connsiteY1" fmla="*/ 37989 h 37989"/>
                <a:gd name="connsiteX2" fmla="*/ 0 w 47486"/>
                <a:gd name="connsiteY2" fmla="*/ 18995 h 37989"/>
                <a:gd name="connsiteX3" fmla="*/ 0 w 47486"/>
                <a:gd name="connsiteY3" fmla="*/ 18995 h 37989"/>
                <a:gd name="connsiteX4" fmla="*/ 18995 w 47486"/>
                <a:gd name="connsiteY4" fmla="*/ 0 h 37989"/>
                <a:gd name="connsiteX5" fmla="*/ 28492 w 47486"/>
                <a:gd name="connsiteY5" fmla="*/ 0 h 37989"/>
                <a:gd name="connsiteX6" fmla="*/ 47486 w 47486"/>
                <a:gd name="connsiteY6" fmla="*/ 18995 h 37989"/>
                <a:gd name="connsiteX7" fmla="*/ 47486 w 47486"/>
                <a:gd name="connsiteY7" fmla="*/ 18995 h 37989"/>
                <a:gd name="connsiteX8" fmla="*/ 28492 w 47486"/>
                <a:gd name="connsiteY8" fmla="*/ 37989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486" h="37989">
                  <a:moveTo>
                    <a:pt x="28492" y="37989"/>
                  </a:moveTo>
                  <a:lnTo>
                    <a:pt x="18995" y="37989"/>
                  </a:lnTo>
                  <a:cubicBezTo>
                    <a:pt x="8504" y="37989"/>
                    <a:pt x="0" y="29485"/>
                    <a:pt x="0" y="18995"/>
                  </a:cubicBezTo>
                  <a:lnTo>
                    <a:pt x="0" y="18995"/>
                  </a:lnTo>
                  <a:cubicBezTo>
                    <a:pt x="0" y="8504"/>
                    <a:pt x="8504" y="0"/>
                    <a:pt x="18995" y="0"/>
                  </a:cubicBezTo>
                  <a:lnTo>
                    <a:pt x="28492" y="0"/>
                  </a:lnTo>
                  <a:cubicBezTo>
                    <a:pt x="38982" y="0"/>
                    <a:pt x="47486" y="8504"/>
                    <a:pt x="47486" y="18995"/>
                  </a:cubicBezTo>
                  <a:lnTo>
                    <a:pt x="47486" y="18995"/>
                  </a:lnTo>
                  <a:cubicBezTo>
                    <a:pt x="47486" y="29484"/>
                    <a:pt x="38982" y="37989"/>
                    <a:pt x="28492" y="37989"/>
                  </a:cubicBezTo>
                  <a:close/>
                </a:path>
              </a:pathLst>
            </a:custGeom>
            <a:solidFill>
              <a:srgbClr val="F0C087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9FF45143-5128-A2B7-0538-94EF710DFC76}"/>
                </a:ext>
              </a:extLst>
            </p:cNvPr>
            <p:cNvSpPr/>
            <p:nvPr/>
          </p:nvSpPr>
          <p:spPr>
            <a:xfrm>
              <a:off x="3617894" y="3806633"/>
              <a:ext cx="33241" cy="37989"/>
            </a:xfrm>
            <a:custGeom>
              <a:avLst/>
              <a:gdLst>
                <a:gd name="connsiteX0" fmla="*/ 18996 w 33241"/>
                <a:gd name="connsiteY0" fmla="*/ 18995 h 37989"/>
                <a:gd name="connsiteX1" fmla="*/ 33241 w 33241"/>
                <a:gd name="connsiteY1" fmla="*/ 672 h 37989"/>
                <a:gd name="connsiteX2" fmla="*/ 28492 w 33241"/>
                <a:gd name="connsiteY2" fmla="*/ 0 h 37989"/>
                <a:gd name="connsiteX3" fmla="*/ 18995 w 33241"/>
                <a:gd name="connsiteY3" fmla="*/ 0 h 37989"/>
                <a:gd name="connsiteX4" fmla="*/ 0 w 33241"/>
                <a:gd name="connsiteY4" fmla="*/ 18995 h 37989"/>
                <a:gd name="connsiteX5" fmla="*/ 18995 w 33241"/>
                <a:gd name="connsiteY5" fmla="*/ 37989 h 37989"/>
                <a:gd name="connsiteX6" fmla="*/ 28492 w 33241"/>
                <a:gd name="connsiteY6" fmla="*/ 37989 h 37989"/>
                <a:gd name="connsiteX7" fmla="*/ 33241 w 33241"/>
                <a:gd name="connsiteY7" fmla="*/ 37317 h 37989"/>
                <a:gd name="connsiteX8" fmla="*/ 18996 w 33241"/>
                <a:gd name="connsiteY8" fmla="*/ 18995 h 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41" h="37989">
                  <a:moveTo>
                    <a:pt x="18996" y="18995"/>
                  </a:moveTo>
                  <a:cubicBezTo>
                    <a:pt x="18996" y="10154"/>
                    <a:pt x="25063" y="2789"/>
                    <a:pt x="33241" y="672"/>
                  </a:cubicBezTo>
                  <a:cubicBezTo>
                    <a:pt x="31715" y="276"/>
                    <a:pt x="30142" y="0"/>
                    <a:pt x="28492" y="0"/>
                  </a:cubicBezTo>
                  <a:lnTo>
                    <a:pt x="18995" y="0"/>
                  </a:lnTo>
                  <a:cubicBezTo>
                    <a:pt x="8504" y="0"/>
                    <a:pt x="0" y="8504"/>
                    <a:pt x="0" y="18995"/>
                  </a:cubicBezTo>
                  <a:cubicBezTo>
                    <a:pt x="0" y="29484"/>
                    <a:pt x="8504" y="37989"/>
                    <a:pt x="18995" y="37989"/>
                  </a:cubicBezTo>
                  <a:lnTo>
                    <a:pt x="28492" y="37989"/>
                  </a:lnTo>
                  <a:cubicBezTo>
                    <a:pt x="30142" y="37989"/>
                    <a:pt x="31714" y="37713"/>
                    <a:pt x="33241" y="37317"/>
                  </a:cubicBezTo>
                  <a:cubicBezTo>
                    <a:pt x="25063" y="35200"/>
                    <a:pt x="18996" y="27835"/>
                    <a:pt x="18996" y="18995"/>
                  </a:cubicBezTo>
                  <a:close/>
                </a:path>
              </a:pathLst>
            </a:custGeom>
            <a:solidFill>
              <a:srgbClr val="E6AF7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125" name="ZoneTexte 124">
            <a:extLst>
              <a:ext uri="{FF2B5EF4-FFF2-40B4-BE49-F238E27FC236}">
                <a16:creationId xmlns:a16="http://schemas.microsoft.com/office/drawing/2014/main" id="{5157F633-444E-708E-CF7D-2F580F79B31E}"/>
              </a:ext>
            </a:extLst>
          </p:cNvPr>
          <p:cNvSpPr txBox="1"/>
          <p:nvPr/>
        </p:nvSpPr>
        <p:spPr>
          <a:xfrm>
            <a:off x="852498" y="362347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" b="1">
                <a:solidFill>
                  <a:srgbClr val="664874"/>
                </a:solidFill>
              </a:rPr>
              <a:t>2021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FF7FCCF-7C5A-5A03-ED02-E5B2848C18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4209" y="3548662"/>
            <a:ext cx="1806202" cy="159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559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59845EF5-25B0-D76E-2135-93D619373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573" y="194400"/>
            <a:ext cx="7704856" cy="337362"/>
          </a:xfrm>
        </p:spPr>
        <p:txBody>
          <a:bodyPr>
            <a:normAutofit fontScale="90000"/>
          </a:bodyPr>
          <a:lstStyle/>
          <a:p>
            <a:pPr algn="ctr"/>
            <a:r>
              <a:rPr lang="en"/>
              <a:t>A succes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D157893-5F89-C526-60E6-F9C26EB9BE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" err="1"/>
              <a:t>Tosit as an accelerator </a:t>
            </a:r>
          </a:p>
        </p:txBody>
      </p:sp>
      <p:sp>
        <p:nvSpPr>
          <p:cNvPr id="7" name="Rectangle: Rounded Corners 86">
            <a:extLst>
              <a:ext uri="{FF2B5EF4-FFF2-40B4-BE49-F238E27FC236}">
                <a16:creationId xmlns:a16="http://schemas.microsoft.com/office/drawing/2014/main" id="{81491B25-69A7-373B-FE76-B4B136F80C5E}"/>
              </a:ext>
            </a:extLst>
          </p:cNvPr>
          <p:cNvSpPr/>
          <p:nvPr/>
        </p:nvSpPr>
        <p:spPr>
          <a:xfrm>
            <a:off x="282235" y="2174002"/>
            <a:ext cx="8686800" cy="1158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6" name="TextBox 38">
            <a:extLst>
              <a:ext uri="{FF2B5EF4-FFF2-40B4-BE49-F238E27FC236}">
                <a16:creationId xmlns:a16="http://schemas.microsoft.com/office/drawing/2014/main" id="{AB832012-AD08-826C-8443-C59192ADE965}"/>
              </a:ext>
            </a:extLst>
          </p:cNvPr>
          <p:cNvSpPr txBox="1"/>
          <p:nvPr/>
        </p:nvSpPr>
        <p:spPr>
          <a:xfrm>
            <a:off x="4796668" y="3363839"/>
            <a:ext cx="1371600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Carry out or have carried out strategic or technical studies and follow-ups related to the use of Open Source solutions</a:t>
            </a:r>
          </a:p>
        </p:txBody>
      </p:sp>
      <p:sp>
        <p:nvSpPr>
          <p:cNvPr id="127" name="TextBox 24">
            <a:extLst>
              <a:ext uri="{FF2B5EF4-FFF2-40B4-BE49-F238E27FC236}">
                <a16:creationId xmlns:a16="http://schemas.microsoft.com/office/drawing/2014/main" id="{3E2A0D1F-2A31-19B0-B182-F73B0F336A04}"/>
              </a:ext>
            </a:extLst>
          </p:cNvPr>
          <p:cNvSpPr txBox="1"/>
          <p:nvPr/>
        </p:nvSpPr>
        <p:spPr>
          <a:xfrm>
            <a:off x="1742521" y="3363838"/>
            <a:ext cx="1208035" cy="113107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Promote the sharing of feedback and best practices in the use of Open Source solutions</a:t>
            </a:r>
          </a:p>
        </p:txBody>
      </p:sp>
      <p:sp>
        <p:nvSpPr>
          <p:cNvPr id="128" name="TextBox 31">
            <a:extLst>
              <a:ext uri="{FF2B5EF4-FFF2-40B4-BE49-F238E27FC236}">
                <a16:creationId xmlns:a16="http://schemas.microsoft.com/office/drawing/2014/main" id="{0583E7AF-7321-A7CE-20D0-5125A0C82CFC}"/>
              </a:ext>
            </a:extLst>
          </p:cNvPr>
          <p:cNvSpPr txBox="1"/>
          <p:nvPr/>
        </p:nvSpPr>
        <p:spPr>
          <a:xfrm>
            <a:off x="3332429" y="3377353"/>
            <a:ext cx="1200066" cy="113107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Collect and identify its members' needs for open source solutions</a:t>
            </a:r>
          </a:p>
          <a:p>
            <a:pPr algn="ctr"/>
            <a:r>
              <a:rPr lang="en" sz="1050">
                <a:solidFill>
                  <a:prstClr val="black">
                    <a:lumMod val="75000"/>
                    <a:lumOff val="25000"/>
                  </a:prst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</a:p>
        </p:txBody>
      </p:sp>
      <p:sp>
        <p:nvSpPr>
          <p:cNvPr id="129" name="TextBox 12">
            <a:extLst>
              <a:ext uri="{FF2B5EF4-FFF2-40B4-BE49-F238E27FC236}">
                <a16:creationId xmlns:a16="http://schemas.microsoft.com/office/drawing/2014/main" id="{33FA5ABD-7C2A-5293-7056-256B77CC7471}"/>
              </a:ext>
            </a:extLst>
          </p:cNvPr>
          <p:cNvSpPr txBox="1"/>
          <p:nvPr/>
        </p:nvSpPr>
        <p:spPr>
          <a:xfrm>
            <a:off x="158432" y="3363838"/>
            <a:ext cx="1285347" cy="113107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To be, for its members, a place to meet and exchange around Open Source solutions.</a:t>
            </a:r>
          </a:p>
        </p:txBody>
      </p:sp>
      <p:sp>
        <p:nvSpPr>
          <p:cNvPr id="130" name="TextBox 45">
            <a:extLst>
              <a:ext uri="{FF2B5EF4-FFF2-40B4-BE49-F238E27FC236}">
                <a16:creationId xmlns:a16="http://schemas.microsoft.com/office/drawing/2014/main" id="{2295AE2F-3F87-F551-522A-19D6F7B5F592}"/>
              </a:ext>
            </a:extLst>
          </p:cNvPr>
          <p:cNvSpPr txBox="1"/>
          <p:nvPr/>
        </p:nvSpPr>
        <p:spPr>
          <a:xfrm>
            <a:off x="6240593" y="3363839"/>
            <a:ext cx="1371600" cy="9694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Promote the most effective open source solutions in various areas of interest to its members</a:t>
            </a:r>
          </a:p>
        </p:txBody>
      </p:sp>
      <p:sp>
        <p:nvSpPr>
          <p:cNvPr id="131" name="Oval 95">
            <a:extLst>
              <a:ext uri="{FF2B5EF4-FFF2-40B4-BE49-F238E27FC236}">
                <a16:creationId xmlns:a16="http://schemas.microsoft.com/office/drawing/2014/main" id="{D7B240CF-64D3-795A-99CE-4020778A1FD4}"/>
              </a:ext>
            </a:extLst>
          </p:cNvPr>
          <p:cNvSpPr/>
          <p:nvPr/>
        </p:nvSpPr>
        <p:spPr>
          <a:xfrm>
            <a:off x="811269" y="2088043"/>
            <a:ext cx="287719" cy="287719"/>
          </a:xfrm>
          <a:prstGeom prst="ellipse">
            <a:avLst/>
          </a:prstGeom>
          <a:solidFill>
            <a:srgbClr val="9757B6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32" name="Oval 96">
            <a:extLst>
              <a:ext uri="{FF2B5EF4-FFF2-40B4-BE49-F238E27FC236}">
                <a16:creationId xmlns:a16="http://schemas.microsoft.com/office/drawing/2014/main" id="{CF218FAF-C490-215B-B4EC-2BD0FC745288}"/>
              </a:ext>
            </a:extLst>
          </p:cNvPr>
          <p:cNvSpPr/>
          <p:nvPr/>
        </p:nvSpPr>
        <p:spPr>
          <a:xfrm>
            <a:off x="2367054" y="2101516"/>
            <a:ext cx="287719" cy="287719"/>
          </a:xfrm>
          <a:prstGeom prst="ellipse">
            <a:avLst/>
          </a:prstGeom>
          <a:solidFill>
            <a:srgbClr val="FF9B1E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133" name="Oval 97">
            <a:extLst>
              <a:ext uri="{FF2B5EF4-FFF2-40B4-BE49-F238E27FC236}">
                <a16:creationId xmlns:a16="http://schemas.microsoft.com/office/drawing/2014/main" id="{F494D9BF-4940-88F8-7285-876B208E273E}"/>
              </a:ext>
            </a:extLst>
          </p:cNvPr>
          <p:cNvSpPr/>
          <p:nvPr/>
        </p:nvSpPr>
        <p:spPr>
          <a:xfrm>
            <a:off x="3950246" y="2101516"/>
            <a:ext cx="287719" cy="287719"/>
          </a:xfrm>
          <a:prstGeom prst="ellipse">
            <a:avLst/>
          </a:prstGeom>
          <a:solidFill>
            <a:srgbClr val="FF7645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134" name="Oval 98">
            <a:extLst>
              <a:ext uri="{FF2B5EF4-FFF2-40B4-BE49-F238E27FC236}">
                <a16:creationId xmlns:a16="http://schemas.microsoft.com/office/drawing/2014/main" id="{86DCDB2F-9BF7-3C31-21E3-E58A9EAE3751}"/>
              </a:ext>
            </a:extLst>
          </p:cNvPr>
          <p:cNvSpPr/>
          <p:nvPr/>
        </p:nvSpPr>
        <p:spPr>
          <a:xfrm>
            <a:off x="5459914" y="2101516"/>
            <a:ext cx="287719" cy="287719"/>
          </a:xfrm>
          <a:prstGeom prst="ellipse">
            <a:avLst/>
          </a:prstGeom>
          <a:solidFill>
            <a:srgbClr val="DAC6E0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5" name="Oval 99">
            <a:extLst>
              <a:ext uri="{FF2B5EF4-FFF2-40B4-BE49-F238E27FC236}">
                <a16:creationId xmlns:a16="http://schemas.microsoft.com/office/drawing/2014/main" id="{108122B1-85EE-BD35-ED99-A8834C986D1A}"/>
              </a:ext>
            </a:extLst>
          </p:cNvPr>
          <p:cNvSpPr/>
          <p:nvPr/>
        </p:nvSpPr>
        <p:spPr>
          <a:xfrm>
            <a:off x="6889162" y="2082592"/>
            <a:ext cx="287719" cy="287719"/>
          </a:xfrm>
          <a:prstGeom prst="ellipse">
            <a:avLst/>
          </a:prstGeom>
          <a:solidFill>
            <a:srgbClr val="582974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  <p:sp>
        <p:nvSpPr>
          <p:cNvPr id="136" name="Freeform 6">
            <a:extLst>
              <a:ext uri="{FF2B5EF4-FFF2-40B4-BE49-F238E27FC236}">
                <a16:creationId xmlns:a16="http://schemas.microsoft.com/office/drawing/2014/main" id="{12BFE04F-D69F-A47B-535D-EA96C6DB6825}"/>
              </a:ext>
            </a:extLst>
          </p:cNvPr>
          <p:cNvSpPr>
            <a:spLocks/>
          </p:cNvSpPr>
          <p:nvPr/>
        </p:nvSpPr>
        <p:spPr bwMode="auto">
          <a:xfrm>
            <a:off x="2395231" y="3133939"/>
            <a:ext cx="400706" cy="212179"/>
          </a:xfrm>
          <a:custGeom>
            <a:avLst/>
            <a:gdLst>
              <a:gd name="T0" fmla="*/ 44 w 187"/>
              <a:gd name="T1" fmla="*/ 44 h 99"/>
              <a:gd name="T2" fmla="*/ 142 w 187"/>
              <a:gd name="T3" fmla="*/ 0 h 99"/>
              <a:gd name="T4" fmla="*/ 187 w 187"/>
              <a:gd name="T5" fmla="*/ 32 h 99"/>
              <a:gd name="T6" fmla="*/ 44 w 187"/>
              <a:gd name="T7" fmla="*/ 99 h 99"/>
              <a:gd name="T8" fmla="*/ 0 w 187"/>
              <a:gd name="T9" fmla="*/ 93 h 99"/>
              <a:gd name="T10" fmla="*/ 16 w 187"/>
              <a:gd name="T11" fmla="*/ 41 h 99"/>
              <a:gd name="T12" fmla="*/ 44 w 187"/>
              <a:gd name="T13" fmla="*/ 44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9">
                <a:moveTo>
                  <a:pt x="44" y="44"/>
                </a:moveTo>
                <a:cubicBezTo>
                  <a:pt x="83" y="44"/>
                  <a:pt x="118" y="27"/>
                  <a:pt x="142" y="0"/>
                </a:cubicBezTo>
                <a:cubicBezTo>
                  <a:pt x="187" y="32"/>
                  <a:pt x="187" y="32"/>
                  <a:pt x="187" y="32"/>
                </a:cubicBezTo>
                <a:cubicBezTo>
                  <a:pt x="153" y="73"/>
                  <a:pt x="101" y="99"/>
                  <a:pt x="44" y="99"/>
                </a:cubicBezTo>
                <a:cubicBezTo>
                  <a:pt x="29" y="99"/>
                  <a:pt x="14" y="97"/>
                  <a:pt x="0" y="93"/>
                </a:cubicBezTo>
                <a:cubicBezTo>
                  <a:pt x="16" y="41"/>
                  <a:pt x="16" y="41"/>
                  <a:pt x="16" y="41"/>
                </a:cubicBezTo>
                <a:cubicBezTo>
                  <a:pt x="25" y="43"/>
                  <a:pt x="35" y="44"/>
                  <a:pt x="44" y="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7" name="Freeform 7">
            <a:extLst>
              <a:ext uri="{FF2B5EF4-FFF2-40B4-BE49-F238E27FC236}">
                <a16:creationId xmlns:a16="http://schemas.microsoft.com/office/drawing/2014/main" id="{D2312E80-CC56-F671-C279-A4DC15A97A92}"/>
              </a:ext>
            </a:extLst>
          </p:cNvPr>
          <p:cNvSpPr>
            <a:spLocks/>
          </p:cNvSpPr>
          <p:nvPr/>
        </p:nvSpPr>
        <p:spPr bwMode="auto">
          <a:xfrm>
            <a:off x="2090528" y="2975325"/>
            <a:ext cx="285225" cy="340878"/>
          </a:xfrm>
          <a:custGeom>
            <a:avLst/>
            <a:gdLst>
              <a:gd name="T0" fmla="*/ 133 w 133"/>
              <a:gd name="T1" fmla="*/ 107 h 159"/>
              <a:gd name="T2" fmla="*/ 116 w 133"/>
              <a:gd name="T3" fmla="*/ 159 h 159"/>
              <a:gd name="T4" fmla="*/ 0 w 133"/>
              <a:gd name="T5" fmla="*/ 0 h 159"/>
              <a:gd name="T6" fmla="*/ 55 w 133"/>
              <a:gd name="T7" fmla="*/ 0 h 159"/>
              <a:gd name="T8" fmla="*/ 133 w 133"/>
              <a:gd name="T9" fmla="*/ 107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59">
                <a:moveTo>
                  <a:pt x="133" y="107"/>
                </a:moveTo>
                <a:cubicBezTo>
                  <a:pt x="116" y="159"/>
                  <a:pt x="116" y="159"/>
                  <a:pt x="116" y="159"/>
                </a:cubicBezTo>
                <a:cubicBezTo>
                  <a:pt x="52" y="133"/>
                  <a:pt x="5" y="72"/>
                  <a:pt x="0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60" y="48"/>
                  <a:pt x="91" y="88"/>
                  <a:pt x="133" y="10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8" name="Freeform 5">
            <a:extLst>
              <a:ext uri="{FF2B5EF4-FFF2-40B4-BE49-F238E27FC236}">
                <a16:creationId xmlns:a16="http://schemas.microsoft.com/office/drawing/2014/main" id="{804D17CE-4EEF-7E05-543B-5D1F317D9424}"/>
              </a:ext>
            </a:extLst>
          </p:cNvPr>
          <p:cNvSpPr>
            <a:spLocks/>
          </p:cNvSpPr>
          <p:nvPr/>
        </p:nvSpPr>
        <p:spPr bwMode="auto">
          <a:xfrm>
            <a:off x="2733327" y="2734624"/>
            <a:ext cx="156526" cy="422967"/>
          </a:xfrm>
          <a:custGeom>
            <a:avLst/>
            <a:gdLst>
              <a:gd name="T0" fmla="*/ 18 w 73"/>
              <a:gd name="T1" fmla="*/ 98 h 197"/>
              <a:gd name="T2" fmla="*/ 0 w 73"/>
              <a:gd name="T3" fmla="*/ 32 h 197"/>
              <a:gd name="T4" fmla="*/ 45 w 73"/>
              <a:gd name="T5" fmla="*/ 0 h 197"/>
              <a:gd name="T6" fmla="*/ 73 w 73"/>
              <a:gd name="T7" fmla="*/ 98 h 197"/>
              <a:gd name="T8" fmla="*/ 45 w 73"/>
              <a:gd name="T9" fmla="*/ 197 h 197"/>
              <a:gd name="T10" fmla="*/ 0 w 73"/>
              <a:gd name="T11" fmla="*/ 164 h 197"/>
              <a:gd name="T12" fmla="*/ 18 w 73"/>
              <a:gd name="T13" fmla="*/ 98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3" h="197">
                <a:moveTo>
                  <a:pt x="18" y="98"/>
                </a:moveTo>
                <a:cubicBezTo>
                  <a:pt x="18" y="74"/>
                  <a:pt x="12" y="51"/>
                  <a:pt x="0" y="32"/>
                </a:cubicBezTo>
                <a:cubicBezTo>
                  <a:pt x="45" y="0"/>
                  <a:pt x="45" y="0"/>
                  <a:pt x="45" y="0"/>
                </a:cubicBezTo>
                <a:cubicBezTo>
                  <a:pt x="62" y="28"/>
                  <a:pt x="73" y="62"/>
                  <a:pt x="73" y="98"/>
                </a:cubicBezTo>
                <a:cubicBezTo>
                  <a:pt x="73" y="134"/>
                  <a:pt x="62" y="168"/>
                  <a:pt x="45" y="197"/>
                </a:cubicBezTo>
                <a:cubicBezTo>
                  <a:pt x="0" y="164"/>
                  <a:pt x="0" y="164"/>
                  <a:pt x="0" y="164"/>
                </a:cubicBezTo>
                <a:cubicBezTo>
                  <a:pt x="12" y="145"/>
                  <a:pt x="18" y="122"/>
                  <a:pt x="18" y="9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9" name="Freeform 8">
            <a:extLst>
              <a:ext uri="{FF2B5EF4-FFF2-40B4-BE49-F238E27FC236}">
                <a16:creationId xmlns:a16="http://schemas.microsoft.com/office/drawing/2014/main" id="{95712FC7-0F8B-5C49-AA02-B5867A4525BF}"/>
              </a:ext>
            </a:extLst>
          </p:cNvPr>
          <p:cNvSpPr>
            <a:spLocks/>
          </p:cNvSpPr>
          <p:nvPr/>
        </p:nvSpPr>
        <p:spPr bwMode="auto">
          <a:xfrm>
            <a:off x="2395231" y="2546098"/>
            <a:ext cx="400706" cy="210092"/>
          </a:xfrm>
          <a:custGeom>
            <a:avLst/>
            <a:gdLst>
              <a:gd name="T0" fmla="*/ 44 w 187"/>
              <a:gd name="T1" fmla="*/ 54 h 98"/>
              <a:gd name="T2" fmla="*/ 16 w 187"/>
              <a:gd name="T3" fmla="*/ 57 h 98"/>
              <a:gd name="T4" fmla="*/ 0 w 187"/>
              <a:gd name="T5" fmla="*/ 5 h 98"/>
              <a:gd name="T6" fmla="*/ 44 w 187"/>
              <a:gd name="T7" fmla="*/ 0 h 98"/>
              <a:gd name="T8" fmla="*/ 187 w 187"/>
              <a:gd name="T9" fmla="*/ 66 h 98"/>
              <a:gd name="T10" fmla="*/ 142 w 187"/>
              <a:gd name="T11" fmla="*/ 98 h 98"/>
              <a:gd name="T12" fmla="*/ 44 w 187"/>
              <a:gd name="T13" fmla="*/ 54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8">
                <a:moveTo>
                  <a:pt x="44" y="54"/>
                </a:moveTo>
                <a:cubicBezTo>
                  <a:pt x="35" y="54"/>
                  <a:pt x="25" y="55"/>
                  <a:pt x="16" y="57"/>
                </a:cubicBezTo>
                <a:cubicBezTo>
                  <a:pt x="0" y="5"/>
                  <a:pt x="0" y="5"/>
                  <a:pt x="0" y="5"/>
                </a:cubicBezTo>
                <a:cubicBezTo>
                  <a:pt x="14" y="2"/>
                  <a:pt x="29" y="0"/>
                  <a:pt x="44" y="0"/>
                </a:cubicBezTo>
                <a:cubicBezTo>
                  <a:pt x="101" y="0"/>
                  <a:pt x="153" y="25"/>
                  <a:pt x="187" y="66"/>
                </a:cubicBezTo>
                <a:cubicBezTo>
                  <a:pt x="142" y="98"/>
                  <a:pt x="142" y="98"/>
                  <a:pt x="142" y="98"/>
                </a:cubicBezTo>
                <a:cubicBezTo>
                  <a:pt x="118" y="71"/>
                  <a:pt x="83" y="54"/>
                  <a:pt x="44" y="54"/>
                </a:cubicBezTo>
                <a:close/>
              </a:path>
            </a:pathLst>
          </a:custGeom>
          <a:solidFill>
            <a:srgbClr val="FF9B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0" name="Freeform 9">
            <a:extLst>
              <a:ext uri="{FF2B5EF4-FFF2-40B4-BE49-F238E27FC236}">
                <a16:creationId xmlns:a16="http://schemas.microsoft.com/office/drawing/2014/main" id="{966D3CF1-812F-1FB5-C34E-1AD5C3D1D55F}"/>
              </a:ext>
            </a:extLst>
          </p:cNvPr>
          <p:cNvSpPr>
            <a:spLocks/>
          </p:cNvSpPr>
          <p:nvPr/>
        </p:nvSpPr>
        <p:spPr bwMode="auto">
          <a:xfrm>
            <a:off x="2082356" y="2582449"/>
            <a:ext cx="285225" cy="342965"/>
          </a:xfrm>
          <a:custGeom>
            <a:avLst/>
            <a:gdLst>
              <a:gd name="T0" fmla="*/ 55 w 133"/>
              <a:gd name="T1" fmla="*/ 160 h 160"/>
              <a:gd name="T2" fmla="*/ 0 w 133"/>
              <a:gd name="T3" fmla="*/ 160 h 160"/>
              <a:gd name="T4" fmla="*/ 116 w 133"/>
              <a:gd name="T5" fmla="*/ 0 h 160"/>
              <a:gd name="T6" fmla="*/ 133 w 133"/>
              <a:gd name="T7" fmla="*/ 53 h 160"/>
              <a:gd name="T8" fmla="*/ 55 w 133"/>
              <a:gd name="T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60">
                <a:moveTo>
                  <a:pt x="55" y="160"/>
                </a:moveTo>
                <a:cubicBezTo>
                  <a:pt x="0" y="160"/>
                  <a:pt x="0" y="160"/>
                  <a:pt x="0" y="160"/>
                </a:cubicBezTo>
                <a:cubicBezTo>
                  <a:pt x="5" y="87"/>
                  <a:pt x="52" y="27"/>
                  <a:pt x="116" y="0"/>
                </a:cubicBezTo>
                <a:cubicBezTo>
                  <a:pt x="133" y="53"/>
                  <a:pt x="133" y="53"/>
                  <a:pt x="133" y="53"/>
                </a:cubicBezTo>
                <a:cubicBezTo>
                  <a:pt x="91" y="71"/>
                  <a:pt x="60" y="112"/>
                  <a:pt x="55" y="16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1" name="Freeform 8">
            <a:extLst>
              <a:ext uri="{FF2B5EF4-FFF2-40B4-BE49-F238E27FC236}">
                <a16:creationId xmlns:a16="http://schemas.microsoft.com/office/drawing/2014/main" id="{58648ED0-C5AD-4A95-64A8-E59DCFD76B00}"/>
              </a:ext>
            </a:extLst>
          </p:cNvPr>
          <p:cNvSpPr>
            <a:spLocks/>
          </p:cNvSpPr>
          <p:nvPr/>
        </p:nvSpPr>
        <p:spPr bwMode="auto">
          <a:xfrm>
            <a:off x="857607" y="2481723"/>
            <a:ext cx="400706" cy="210092"/>
          </a:xfrm>
          <a:custGeom>
            <a:avLst/>
            <a:gdLst>
              <a:gd name="T0" fmla="*/ 44 w 187"/>
              <a:gd name="T1" fmla="*/ 54 h 98"/>
              <a:gd name="T2" fmla="*/ 16 w 187"/>
              <a:gd name="T3" fmla="*/ 57 h 98"/>
              <a:gd name="T4" fmla="*/ 0 w 187"/>
              <a:gd name="T5" fmla="*/ 5 h 98"/>
              <a:gd name="T6" fmla="*/ 44 w 187"/>
              <a:gd name="T7" fmla="*/ 0 h 98"/>
              <a:gd name="T8" fmla="*/ 187 w 187"/>
              <a:gd name="T9" fmla="*/ 66 h 98"/>
              <a:gd name="T10" fmla="*/ 142 w 187"/>
              <a:gd name="T11" fmla="*/ 98 h 98"/>
              <a:gd name="T12" fmla="*/ 44 w 187"/>
              <a:gd name="T13" fmla="*/ 54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8">
                <a:moveTo>
                  <a:pt x="44" y="54"/>
                </a:moveTo>
                <a:cubicBezTo>
                  <a:pt x="35" y="54"/>
                  <a:pt x="25" y="55"/>
                  <a:pt x="16" y="57"/>
                </a:cubicBezTo>
                <a:cubicBezTo>
                  <a:pt x="0" y="5"/>
                  <a:pt x="0" y="5"/>
                  <a:pt x="0" y="5"/>
                </a:cubicBezTo>
                <a:cubicBezTo>
                  <a:pt x="14" y="2"/>
                  <a:pt x="29" y="0"/>
                  <a:pt x="44" y="0"/>
                </a:cubicBezTo>
                <a:cubicBezTo>
                  <a:pt x="101" y="0"/>
                  <a:pt x="153" y="25"/>
                  <a:pt x="187" y="66"/>
                </a:cubicBezTo>
                <a:cubicBezTo>
                  <a:pt x="142" y="98"/>
                  <a:pt x="142" y="98"/>
                  <a:pt x="142" y="98"/>
                </a:cubicBezTo>
                <a:cubicBezTo>
                  <a:pt x="118" y="71"/>
                  <a:pt x="83" y="54"/>
                  <a:pt x="44" y="5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2" name="Freeform 6">
            <a:extLst>
              <a:ext uri="{FF2B5EF4-FFF2-40B4-BE49-F238E27FC236}">
                <a16:creationId xmlns:a16="http://schemas.microsoft.com/office/drawing/2014/main" id="{6EDEE468-AF84-C1C1-2891-9D6820FA249D}"/>
              </a:ext>
            </a:extLst>
          </p:cNvPr>
          <p:cNvSpPr>
            <a:spLocks/>
          </p:cNvSpPr>
          <p:nvPr/>
        </p:nvSpPr>
        <p:spPr bwMode="auto">
          <a:xfrm>
            <a:off x="5509183" y="3070856"/>
            <a:ext cx="400706" cy="212179"/>
          </a:xfrm>
          <a:custGeom>
            <a:avLst/>
            <a:gdLst>
              <a:gd name="T0" fmla="*/ 44 w 187"/>
              <a:gd name="T1" fmla="*/ 44 h 99"/>
              <a:gd name="T2" fmla="*/ 142 w 187"/>
              <a:gd name="T3" fmla="*/ 0 h 99"/>
              <a:gd name="T4" fmla="*/ 187 w 187"/>
              <a:gd name="T5" fmla="*/ 32 h 99"/>
              <a:gd name="T6" fmla="*/ 44 w 187"/>
              <a:gd name="T7" fmla="*/ 99 h 99"/>
              <a:gd name="T8" fmla="*/ 0 w 187"/>
              <a:gd name="T9" fmla="*/ 93 h 99"/>
              <a:gd name="T10" fmla="*/ 16 w 187"/>
              <a:gd name="T11" fmla="*/ 41 h 99"/>
              <a:gd name="T12" fmla="*/ 44 w 187"/>
              <a:gd name="T13" fmla="*/ 44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9">
                <a:moveTo>
                  <a:pt x="44" y="44"/>
                </a:moveTo>
                <a:cubicBezTo>
                  <a:pt x="83" y="44"/>
                  <a:pt x="118" y="27"/>
                  <a:pt x="142" y="0"/>
                </a:cubicBezTo>
                <a:cubicBezTo>
                  <a:pt x="187" y="32"/>
                  <a:pt x="187" y="32"/>
                  <a:pt x="187" y="32"/>
                </a:cubicBezTo>
                <a:cubicBezTo>
                  <a:pt x="153" y="73"/>
                  <a:pt x="101" y="99"/>
                  <a:pt x="44" y="99"/>
                </a:cubicBezTo>
                <a:cubicBezTo>
                  <a:pt x="29" y="99"/>
                  <a:pt x="14" y="97"/>
                  <a:pt x="0" y="93"/>
                </a:cubicBezTo>
                <a:cubicBezTo>
                  <a:pt x="16" y="41"/>
                  <a:pt x="16" y="41"/>
                  <a:pt x="16" y="41"/>
                </a:cubicBezTo>
                <a:cubicBezTo>
                  <a:pt x="25" y="43"/>
                  <a:pt x="35" y="44"/>
                  <a:pt x="44" y="44"/>
                </a:cubicBezTo>
                <a:close/>
              </a:path>
            </a:pathLst>
          </a:custGeom>
          <a:solidFill>
            <a:srgbClr val="DAC6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3" name="Freeform 5">
            <a:extLst>
              <a:ext uri="{FF2B5EF4-FFF2-40B4-BE49-F238E27FC236}">
                <a16:creationId xmlns:a16="http://schemas.microsoft.com/office/drawing/2014/main" id="{516EE31C-0FAD-F8A5-7F82-F857A0D2E8AA}"/>
              </a:ext>
            </a:extLst>
          </p:cNvPr>
          <p:cNvSpPr>
            <a:spLocks/>
          </p:cNvSpPr>
          <p:nvPr/>
        </p:nvSpPr>
        <p:spPr bwMode="auto">
          <a:xfrm>
            <a:off x="5840043" y="2690224"/>
            <a:ext cx="156526" cy="422967"/>
          </a:xfrm>
          <a:custGeom>
            <a:avLst/>
            <a:gdLst>
              <a:gd name="T0" fmla="*/ 18 w 73"/>
              <a:gd name="T1" fmla="*/ 98 h 197"/>
              <a:gd name="T2" fmla="*/ 0 w 73"/>
              <a:gd name="T3" fmla="*/ 32 h 197"/>
              <a:gd name="T4" fmla="*/ 45 w 73"/>
              <a:gd name="T5" fmla="*/ 0 h 197"/>
              <a:gd name="T6" fmla="*/ 73 w 73"/>
              <a:gd name="T7" fmla="*/ 98 h 197"/>
              <a:gd name="T8" fmla="*/ 45 w 73"/>
              <a:gd name="T9" fmla="*/ 197 h 197"/>
              <a:gd name="T10" fmla="*/ 0 w 73"/>
              <a:gd name="T11" fmla="*/ 164 h 197"/>
              <a:gd name="T12" fmla="*/ 18 w 73"/>
              <a:gd name="T13" fmla="*/ 98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3" h="197">
                <a:moveTo>
                  <a:pt x="18" y="98"/>
                </a:moveTo>
                <a:cubicBezTo>
                  <a:pt x="18" y="74"/>
                  <a:pt x="12" y="51"/>
                  <a:pt x="0" y="32"/>
                </a:cubicBezTo>
                <a:cubicBezTo>
                  <a:pt x="45" y="0"/>
                  <a:pt x="45" y="0"/>
                  <a:pt x="45" y="0"/>
                </a:cubicBezTo>
                <a:cubicBezTo>
                  <a:pt x="62" y="28"/>
                  <a:pt x="73" y="62"/>
                  <a:pt x="73" y="98"/>
                </a:cubicBezTo>
                <a:cubicBezTo>
                  <a:pt x="73" y="134"/>
                  <a:pt x="62" y="168"/>
                  <a:pt x="45" y="197"/>
                </a:cubicBezTo>
                <a:cubicBezTo>
                  <a:pt x="0" y="164"/>
                  <a:pt x="0" y="164"/>
                  <a:pt x="0" y="164"/>
                </a:cubicBezTo>
                <a:cubicBezTo>
                  <a:pt x="12" y="145"/>
                  <a:pt x="18" y="122"/>
                  <a:pt x="18" y="9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4" name="Freeform 7">
            <a:extLst>
              <a:ext uri="{FF2B5EF4-FFF2-40B4-BE49-F238E27FC236}">
                <a16:creationId xmlns:a16="http://schemas.microsoft.com/office/drawing/2014/main" id="{00DF1FF0-E244-9D37-56E2-43A81D34A93C}"/>
              </a:ext>
            </a:extLst>
          </p:cNvPr>
          <p:cNvSpPr>
            <a:spLocks/>
          </p:cNvSpPr>
          <p:nvPr/>
        </p:nvSpPr>
        <p:spPr bwMode="auto">
          <a:xfrm>
            <a:off x="5197244" y="2930925"/>
            <a:ext cx="285225" cy="340878"/>
          </a:xfrm>
          <a:custGeom>
            <a:avLst/>
            <a:gdLst>
              <a:gd name="T0" fmla="*/ 133 w 133"/>
              <a:gd name="T1" fmla="*/ 107 h 159"/>
              <a:gd name="T2" fmla="*/ 116 w 133"/>
              <a:gd name="T3" fmla="*/ 159 h 159"/>
              <a:gd name="T4" fmla="*/ 0 w 133"/>
              <a:gd name="T5" fmla="*/ 0 h 159"/>
              <a:gd name="T6" fmla="*/ 55 w 133"/>
              <a:gd name="T7" fmla="*/ 0 h 159"/>
              <a:gd name="T8" fmla="*/ 133 w 133"/>
              <a:gd name="T9" fmla="*/ 107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59">
                <a:moveTo>
                  <a:pt x="133" y="107"/>
                </a:moveTo>
                <a:cubicBezTo>
                  <a:pt x="116" y="159"/>
                  <a:pt x="116" y="159"/>
                  <a:pt x="116" y="159"/>
                </a:cubicBezTo>
                <a:cubicBezTo>
                  <a:pt x="52" y="133"/>
                  <a:pt x="5" y="72"/>
                  <a:pt x="0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60" y="48"/>
                  <a:pt x="91" y="88"/>
                  <a:pt x="133" y="10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5" name="Freeform 8">
            <a:extLst>
              <a:ext uri="{FF2B5EF4-FFF2-40B4-BE49-F238E27FC236}">
                <a16:creationId xmlns:a16="http://schemas.microsoft.com/office/drawing/2014/main" id="{3C6D1642-C219-D52B-508C-41287E1E995F}"/>
              </a:ext>
            </a:extLst>
          </p:cNvPr>
          <p:cNvSpPr>
            <a:spLocks/>
          </p:cNvSpPr>
          <p:nvPr/>
        </p:nvSpPr>
        <p:spPr bwMode="auto">
          <a:xfrm>
            <a:off x="5501947" y="2501698"/>
            <a:ext cx="400706" cy="210092"/>
          </a:xfrm>
          <a:custGeom>
            <a:avLst/>
            <a:gdLst>
              <a:gd name="T0" fmla="*/ 44 w 187"/>
              <a:gd name="T1" fmla="*/ 54 h 98"/>
              <a:gd name="T2" fmla="*/ 16 w 187"/>
              <a:gd name="T3" fmla="*/ 57 h 98"/>
              <a:gd name="T4" fmla="*/ 0 w 187"/>
              <a:gd name="T5" fmla="*/ 5 h 98"/>
              <a:gd name="T6" fmla="*/ 44 w 187"/>
              <a:gd name="T7" fmla="*/ 0 h 98"/>
              <a:gd name="T8" fmla="*/ 187 w 187"/>
              <a:gd name="T9" fmla="*/ 66 h 98"/>
              <a:gd name="T10" fmla="*/ 142 w 187"/>
              <a:gd name="T11" fmla="*/ 98 h 98"/>
              <a:gd name="T12" fmla="*/ 44 w 187"/>
              <a:gd name="T13" fmla="*/ 54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8">
                <a:moveTo>
                  <a:pt x="44" y="54"/>
                </a:moveTo>
                <a:cubicBezTo>
                  <a:pt x="35" y="54"/>
                  <a:pt x="25" y="55"/>
                  <a:pt x="16" y="57"/>
                </a:cubicBezTo>
                <a:cubicBezTo>
                  <a:pt x="0" y="5"/>
                  <a:pt x="0" y="5"/>
                  <a:pt x="0" y="5"/>
                </a:cubicBezTo>
                <a:cubicBezTo>
                  <a:pt x="14" y="2"/>
                  <a:pt x="29" y="0"/>
                  <a:pt x="44" y="0"/>
                </a:cubicBezTo>
                <a:cubicBezTo>
                  <a:pt x="101" y="0"/>
                  <a:pt x="153" y="25"/>
                  <a:pt x="187" y="66"/>
                </a:cubicBezTo>
                <a:cubicBezTo>
                  <a:pt x="142" y="98"/>
                  <a:pt x="142" y="98"/>
                  <a:pt x="142" y="98"/>
                </a:cubicBezTo>
                <a:cubicBezTo>
                  <a:pt x="118" y="71"/>
                  <a:pt x="83" y="54"/>
                  <a:pt x="44" y="5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6" name="Freeform 9">
            <a:extLst>
              <a:ext uri="{FF2B5EF4-FFF2-40B4-BE49-F238E27FC236}">
                <a16:creationId xmlns:a16="http://schemas.microsoft.com/office/drawing/2014/main" id="{CF4C3C4F-F5A6-36E5-6F31-C779B44F9F7D}"/>
              </a:ext>
            </a:extLst>
          </p:cNvPr>
          <p:cNvSpPr>
            <a:spLocks/>
          </p:cNvSpPr>
          <p:nvPr/>
        </p:nvSpPr>
        <p:spPr bwMode="auto">
          <a:xfrm>
            <a:off x="5197244" y="2529524"/>
            <a:ext cx="285225" cy="342965"/>
          </a:xfrm>
          <a:custGeom>
            <a:avLst/>
            <a:gdLst>
              <a:gd name="T0" fmla="*/ 55 w 133"/>
              <a:gd name="T1" fmla="*/ 160 h 160"/>
              <a:gd name="T2" fmla="*/ 0 w 133"/>
              <a:gd name="T3" fmla="*/ 160 h 160"/>
              <a:gd name="T4" fmla="*/ 116 w 133"/>
              <a:gd name="T5" fmla="*/ 0 h 160"/>
              <a:gd name="T6" fmla="*/ 133 w 133"/>
              <a:gd name="T7" fmla="*/ 53 h 160"/>
              <a:gd name="T8" fmla="*/ 55 w 133"/>
              <a:gd name="T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60">
                <a:moveTo>
                  <a:pt x="55" y="160"/>
                </a:moveTo>
                <a:cubicBezTo>
                  <a:pt x="0" y="160"/>
                  <a:pt x="0" y="160"/>
                  <a:pt x="0" y="160"/>
                </a:cubicBezTo>
                <a:cubicBezTo>
                  <a:pt x="5" y="87"/>
                  <a:pt x="52" y="27"/>
                  <a:pt x="116" y="0"/>
                </a:cubicBezTo>
                <a:cubicBezTo>
                  <a:pt x="133" y="53"/>
                  <a:pt x="133" y="53"/>
                  <a:pt x="133" y="53"/>
                </a:cubicBezTo>
                <a:cubicBezTo>
                  <a:pt x="91" y="71"/>
                  <a:pt x="60" y="112"/>
                  <a:pt x="55" y="16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7" name="Freeform 5">
            <a:extLst>
              <a:ext uri="{FF2B5EF4-FFF2-40B4-BE49-F238E27FC236}">
                <a16:creationId xmlns:a16="http://schemas.microsoft.com/office/drawing/2014/main" id="{1848B3C8-29F6-BBE2-BFB7-75EBE7988ADC}"/>
              </a:ext>
            </a:extLst>
          </p:cNvPr>
          <p:cNvSpPr>
            <a:spLocks/>
          </p:cNvSpPr>
          <p:nvPr/>
        </p:nvSpPr>
        <p:spPr bwMode="auto">
          <a:xfrm>
            <a:off x="4323608" y="2692588"/>
            <a:ext cx="156526" cy="422967"/>
          </a:xfrm>
          <a:custGeom>
            <a:avLst/>
            <a:gdLst>
              <a:gd name="T0" fmla="*/ 18 w 73"/>
              <a:gd name="T1" fmla="*/ 98 h 197"/>
              <a:gd name="T2" fmla="*/ 0 w 73"/>
              <a:gd name="T3" fmla="*/ 32 h 197"/>
              <a:gd name="T4" fmla="*/ 45 w 73"/>
              <a:gd name="T5" fmla="*/ 0 h 197"/>
              <a:gd name="T6" fmla="*/ 73 w 73"/>
              <a:gd name="T7" fmla="*/ 98 h 197"/>
              <a:gd name="T8" fmla="*/ 45 w 73"/>
              <a:gd name="T9" fmla="*/ 197 h 197"/>
              <a:gd name="T10" fmla="*/ 0 w 73"/>
              <a:gd name="T11" fmla="*/ 164 h 197"/>
              <a:gd name="T12" fmla="*/ 18 w 73"/>
              <a:gd name="T13" fmla="*/ 98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3" h="197">
                <a:moveTo>
                  <a:pt x="18" y="98"/>
                </a:moveTo>
                <a:cubicBezTo>
                  <a:pt x="18" y="74"/>
                  <a:pt x="12" y="51"/>
                  <a:pt x="0" y="32"/>
                </a:cubicBezTo>
                <a:cubicBezTo>
                  <a:pt x="45" y="0"/>
                  <a:pt x="45" y="0"/>
                  <a:pt x="45" y="0"/>
                </a:cubicBezTo>
                <a:cubicBezTo>
                  <a:pt x="62" y="28"/>
                  <a:pt x="73" y="62"/>
                  <a:pt x="73" y="98"/>
                </a:cubicBezTo>
                <a:cubicBezTo>
                  <a:pt x="73" y="134"/>
                  <a:pt x="62" y="168"/>
                  <a:pt x="45" y="197"/>
                </a:cubicBezTo>
                <a:cubicBezTo>
                  <a:pt x="0" y="164"/>
                  <a:pt x="0" y="164"/>
                  <a:pt x="0" y="164"/>
                </a:cubicBezTo>
                <a:cubicBezTo>
                  <a:pt x="12" y="145"/>
                  <a:pt x="18" y="122"/>
                  <a:pt x="18" y="98"/>
                </a:cubicBezTo>
                <a:close/>
              </a:path>
            </a:pathLst>
          </a:custGeom>
          <a:solidFill>
            <a:srgbClr val="FF76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8" name="Freeform 6">
            <a:extLst>
              <a:ext uri="{FF2B5EF4-FFF2-40B4-BE49-F238E27FC236}">
                <a16:creationId xmlns:a16="http://schemas.microsoft.com/office/drawing/2014/main" id="{78A94465-4703-586A-3C6D-4C2E081C6CC5}"/>
              </a:ext>
            </a:extLst>
          </p:cNvPr>
          <p:cNvSpPr>
            <a:spLocks/>
          </p:cNvSpPr>
          <p:nvPr/>
        </p:nvSpPr>
        <p:spPr bwMode="auto">
          <a:xfrm>
            <a:off x="3985512" y="3091903"/>
            <a:ext cx="400706" cy="212179"/>
          </a:xfrm>
          <a:custGeom>
            <a:avLst/>
            <a:gdLst>
              <a:gd name="T0" fmla="*/ 44 w 187"/>
              <a:gd name="T1" fmla="*/ 44 h 99"/>
              <a:gd name="T2" fmla="*/ 142 w 187"/>
              <a:gd name="T3" fmla="*/ 0 h 99"/>
              <a:gd name="T4" fmla="*/ 187 w 187"/>
              <a:gd name="T5" fmla="*/ 32 h 99"/>
              <a:gd name="T6" fmla="*/ 44 w 187"/>
              <a:gd name="T7" fmla="*/ 99 h 99"/>
              <a:gd name="T8" fmla="*/ 0 w 187"/>
              <a:gd name="T9" fmla="*/ 93 h 99"/>
              <a:gd name="T10" fmla="*/ 16 w 187"/>
              <a:gd name="T11" fmla="*/ 41 h 99"/>
              <a:gd name="T12" fmla="*/ 44 w 187"/>
              <a:gd name="T13" fmla="*/ 44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9">
                <a:moveTo>
                  <a:pt x="44" y="44"/>
                </a:moveTo>
                <a:cubicBezTo>
                  <a:pt x="83" y="44"/>
                  <a:pt x="118" y="27"/>
                  <a:pt x="142" y="0"/>
                </a:cubicBezTo>
                <a:cubicBezTo>
                  <a:pt x="187" y="32"/>
                  <a:pt x="187" y="32"/>
                  <a:pt x="187" y="32"/>
                </a:cubicBezTo>
                <a:cubicBezTo>
                  <a:pt x="153" y="73"/>
                  <a:pt x="101" y="99"/>
                  <a:pt x="44" y="99"/>
                </a:cubicBezTo>
                <a:cubicBezTo>
                  <a:pt x="29" y="99"/>
                  <a:pt x="14" y="97"/>
                  <a:pt x="0" y="93"/>
                </a:cubicBezTo>
                <a:cubicBezTo>
                  <a:pt x="16" y="41"/>
                  <a:pt x="16" y="41"/>
                  <a:pt x="16" y="41"/>
                </a:cubicBezTo>
                <a:cubicBezTo>
                  <a:pt x="25" y="43"/>
                  <a:pt x="35" y="44"/>
                  <a:pt x="44" y="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9" name="Freeform 7">
            <a:extLst>
              <a:ext uri="{FF2B5EF4-FFF2-40B4-BE49-F238E27FC236}">
                <a16:creationId xmlns:a16="http://schemas.microsoft.com/office/drawing/2014/main" id="{A62E11C2-9768-47B3-03D3-3AA49AAC1C4A}"/>
              </a:ext>
            </a:extLst>
          </p:cNvPr>
          <p:cNvSpPr>
            <a:spLocks/>
          </p:cNvSpPr>
          <p:nvPr/>
        </p:nvSpPr>
        <p:spPr bwMode="auto">
          <a:xfrm>
            <a:off x="3680809" y="2933289"/>
            <a:ext cx="285225" cy="340878"/>
          </a:xfrm>
          <a:custGeom>
            <a:avLst/>
            <a:gdLst>
              <a:gd name="T0" fmla="*/ 133 w 133"/>
              <a:gd name="T1" fmla="*/ 107 h 159"/>
              <a:gd name="T2" fmla="*/ 116 w 133"/>
              <a:gd name="T3" fmla="*/ 159 h 159"/>
              <a:gd name="T4" fmla="*/ 0 w 133"/>
              <a:gd name="T5" fmla="*/ 0 h 159"/>
              <a:gd name="T6" fmla="*/ 55 w 133"/>
              <a:gd name="T7" fmla="*/ 0 h 159"/>
              <a:gd name="T8" fmla="*/ 133 w 133"/>
              <a:gd name="T9" fmla="*/ 107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59">
                <a:moveTo>
                  <a:pt x="133" y="107"/>
                </a:moveTo>
                <a:cubicBezTo>
                  <a:pt x="116" y="159"/>
                  <a:pt x="116" y="159"/>
                  <a:pt x="116" y="159"/>
                </a:cubicBezTo>
                <a:cubicBezTo>
                  <a:pt x="52" y="133"/>
                  <a:pt x="5" y="72"/>
                  <a:pt x="0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60" y="48"/>
                  <a:pt x="91" y="88"/>
                  <a:pt x="133" y="10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0" name="Freeform 8">
            <a:extLst>
              <a:ext uri="{FF2B5EF4-FFF2-40B4-BE49-F238E27FC236}">
                <a16:creationId xmlns:a16="http://schemas.microsoft.com/office/drawing/2014/main" id="{362C39A0-D724-9F44-816E-026A8EDCA791}"/>
              </a:ext>
            </a:extLst>
          </p:cNvPr>
          <p:cNvSpPr>
            <a:spLocks/>
          </p:cNvSpPr>
          <p:nvPr/>
        </p:nvSpPr>
        <p:spPr bwMode="auto">
          <a:xfrm>
            <a:off x="3985512" y="2504062"/>
            <a:ext cx="400706" cy="210092"/>
          </a:xfrm>
          <a:custGeom>
            <a:avLst/>
            <a:gdLst>
              <a:gd name="T0" fmla="*/ 44 w 187"/>
              <a:gd name="T1" fmla="*/ 54 h 98"/>
              <a:gd name="T2" fmla="*/ 16 w 187"/>
              <a:gd name="T3" fmla="*/ 57 h 98"/>
              <a:gd name="T4" fmla="*/ 0 w 187"/>
              <a:gd name="T5" fmla="*/ 5 h 98"/>
              <a:gd name="T6" fmla="*/ 44 w 187"/>
              <a:gd name="T7" fmla="*/ 0 h 98"/>
              <a:gd name="T8" fmla="*/ 187 w 187"/>
              <a:gd name="T9" fmla="*/ 66 h 98"/>
              <a:gd name="T10" fmla="*/ 142 w 187"/>
              <a:gd name="T11" fmla="*/ 98 h 98"/>
              <a:gd name="T12" fmla="*/ 44 w 187"/>
              <a:gd name="T13" fmla="*/ 54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98">
                <a:moveTo>
                  <a:pt x="44" y="54"/>
                </a:moveTo>
                <a:cubicBezTo>
                  <a:pt x="35" y="54"/>
                  <a:pt x="25" y="55"/>
                  <a:pt x="16" y="57"/>
                </a:cubicBezTo>
                <a:cubicBezTo>
                  <a:pt x="0" y="5"/>
                  <a:pt x="0" y="5"/>
                  <a:pt x="0" y="5"/>
                </a:cubicBezTo>
                <a:cubicBezTo>
                  <a:pt x="14" y="2"/>
                  <a:pt x="29" y="0"/>
                  <a:pt x="44" y="0"/>
                </a:cubicBezTo>
                <a:cubicBezTo>
                  <a:pt x="101" y="0"/>
                  <a:pt x="153" y="25"/>
                  <a:pt x="187" y="66"/>
                </a:cubicBezTo>
                <a:cubicBezTo>
                  <a:pt x="142" y="98"/>
                  <a:pt x="142" y="98"/>
                  <a:pt x="142" y="98"/>
                </a:cubicBezTo>
                <a:cubicBezTo>
                  <a:pt x="118" y="71"/>
                  <a:pt x="83" y="54"/>
                  <a:pt x="44" y="5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1" name="Freeform 9">
            <a:extLst>
              <a:ext uri="{FF2B5EF4-FFF2-40B4-BE49-F238E27FC236}">
                <a16:creationId xmlns:a16="http://schemas.microsoft.com/office/drawing/2014/main" id="{F21D6387-B98C-6ED4-AB34-1C5196300726}"/>
              </a:ext>
            </a:extLst>
          </p:cNvPr>
          <p:cNvSpPr>
            <a:spLocks/>
          </p:cNvSpPr>
          <p:nvPr/>
        </p:nvSpPr>
        <p:spPr bwMode="auto">
          <a:xfrm>
            <a:off x="3680809" y="2531888"/>
            <a:ext cx="285225" cy="342965"/>
          </a:xfrm>
          <a:custGeom>
            <a:avLst/>
            <a:gdLst>
              <a:gd name="T0" fmla="*/ 55 w 133"/>
              <a:gd name="T1" fmla="*/ 160 h 160"/>
              <a:gd name="T2" fmla="*/ 0 w 133"/>
              <a:gd name="T3" fmla="*/ 160 h 160"/>
              <a:gd name="T4" fmla="*/ 116 w 133"/>
              <a:gd name="T5" fmla="*/ 0 h 160"/>
              <a:gd name="T6" fmla="*/ 133 w 133"/>
              <a:gd name="T7" fmla="*/ 53 h 160"/>
              <a:gd name="T8" fmla="*/ 55 w 133"/>
              <a:gd name="T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" h="160">
                <a:moveTo>
                  <a:pt x="55" y="160"/>
                </a:moveTo>
                <a:cubicBezTo>
                  <a:pt x="0" y="160"/>
                  <a:pt x="0" y="160"/>
                  <a:pt x="0" y="160"/>
                </a:cubicBezTo>
                <a:cubicBezTo>
                  <a:pt x="5" y="87"/>
                  <a:pt x="52" y="27"/>
                  <a:pt x="116" y="0"/>
                </a:cubicBezTo>
                <a:cubicBezTo>
                  <a:pt x="133" y="53"/>
                  <a:pt x="133" y="53"/>
                  <a:pt x="133" y="53"/>
                </a:cubicBezTo>
                <a:cubicBezTo>
                  <a:pt x="91" y="71"/>
                  <a:pt x="60" y="112"/>
                  <a:pt x="55" y="16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152" name="Groupe 151">
            <a:extLst>
              <a:ext uri="{FF2B5EF4-FFF2-40B4-BE49-F238E27FC236}">
                <a16:creationId xmlns:a16="http://schemas.microsoft.com/office/drawing/2014/main" id="{52F4B45A-6D07-1AC1-30D4-9B0BFA5063E1}"/>
              </a:ext>
            </a:extLst>
          </p:cNvPr>
          <p:cNvGrpSpPr/>
          <p:nvPr/>
        </p:nvGrpSpPr>
        <p:grpSpPr>
          <a:xfrm>
            <a:off x="8061745" y="2466108"/>
            <a:ext cx="799325" cy="800020"/>
            <a:chOff x="7515679" y="2811582"/>
            <a:chExt cx="799325" cy="800020"/>
          </a:xfrm>
        </p:grpSpPr>
        <p:sp>
          <p:nvSpPr>
            <p:cNvPr id="153" name="Freeform 8">
              <a:extLst>
                <a:ext uri="{FF2B5EF4-FFF2-40B4-BE49-F238E27FC236}">
                  <a16:creationId xmlns:a16="http://schemas.microsoft.com/office/drawing/2014/main" id="{BF08B967-1C16-80EC-16AD-C1CD49CE2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382" y="2811582"/>
              <a:ext cx="400706" cy="210092"/>
            </a:xfrm>
            <a:custGeom>
              <a:avLst/>
              <a:gdLst>
                <a:gd name="T0" fmla="*/ 44 w 187"/>
                <a:gd name="T1" fmla="*/ 54 h 98"/>
                <a:gd name="T2" fmla="*/ 16 w 187"/>
                <a:gd name="T3" fmla="*/ 57 h 98"/>
                <a:gd name="T4" fmla="*/ 0 w 187"/>
                <a:gd name="T5" fmla="*/ 5 h 98"/>
                <a:gd name="T6" fmla="*/ 44 w 187"/>
                <a:gd name="T7" fmla="*/ 0 h 98"/>
                <a:gd name="T8" fmla="*/ 187 w 187"/>
                <a:gd name="T9" fmla="*/ 66 h 98"/>
                <a:gd name="T10" fmla="*/ 142 w 187"/>
                <a:gd name="T11" fmla="*/ 98 h 98"/>
                <a:gd name="T12" fmla="*/ 44 w 187"/>
                <a:gd name="T13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98">
                  <a:moveTo>
                    <a:pt x="44" y="54"/>
                  </a:moveTo>
                  <a:cubicBezTo>
                    <a:pt x="35" y="54"/>
                    <a:pt x="25" y="55"/>
                    <a:pt x="16" y="5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" y="2"/>
                    <a:pt x="29" y="0"/>
                    <a:pt x="44" y="0"/>
                  </a:cubicBezTo>
                  <a:cubicBezTo>
                    <a:pt x="101" y="0"/>
                    <a:pt x="153" y="25"/>
                    <a:pt x="187" y="66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18" y="71"/>
                    <a:pt x="83" y="54"/>
                    <a:pt x="44" y="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54" name="Freeform 9">
              <a:extLst>
                <a:ext uri="{FF2B5EF4-FFF2-40B4-BE49-F238E27FC236}">
                  <a16:creationId xmlns:a16="http://schemas.microsoft.com/office/drawing/2014/main" id="{BF390D29-D7BD-168D-6365-0C5156A6C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679" y="2839408"/>
              <a:ext cx="285225" cy="342965"/>
            </a:xfrm>
            <a:custGeom>
              <a:avLst/>
              <a:gdLst>
                <a:gd name="T0" fmla="*/ 55 w 133"/>
                <a:gd name="T1" fmla="*/ 160 h 160"/>
                <a:gd name="T2" fmla="*/ 0 w 133"/>
                <a:gd name="T3" fmla="*/ 160 h 160"/>
                <a:gd name="T4" fmla="*/ 116 w 133"/>
                <a:gd name="T5" fmla="*/ 0 h 160"/>
                <a:gd name="T6" fmla="*/ 133 w 133"/>
                <a:gd name="T7" fmla="*/ 53 h 160"/>
                <a:gd name="T8" fmla="*/ 55 w 133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60">
                  <a:moveTo>
                    <a:pt x="55" y="16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5" y="87"/>
                    <a:pt x="52" y="27"/>
                    <a:pt x="116" y="0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91" y="71"/>
                    <a:pt x="60" y="112"/>
                    <a:pt x="55" y="160"/>
                  </a:cubicBezTo>
                  <a:close/>
                </a:path>
              </a:pathLst>
            </a:custGeom>
            <a:solidFill>
              <a:srgbClr val="229B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155" name="Groupe 154">
              <a:extLst>
                <a:ext uri="{FF2B5EF4-FFF2-40B4-BE49-F238E27FC236}">
                  <a16:creationId xmlns:a16="http://schemas.microsoft.com/office/drawing/2014/main" id="{94F57C43-09C8-5968-D7BF-076717177BFB}"/>
                </a:ext>
              </a:extLst>
            </p:cNvPr>
            <p:cNvGrpSpPr/>
            <p:nvPr/>
          </p:nvGrpSpPr>
          <p:grpSpPr>
            <a:xfrm>
              <a:off x="7515679" y="3000108"/>
              <a:ext cx="799325" cy="611494"/>
              <a:chOff x="7515679" y="3000108"/>
              <a:chExt cx="799325" cy="611494"/>
            </a:xfrm>
          </p:grpSpPr>
          <p:sp>
            <p:nvSpPr>
              <p:cNvPr id="156" name="Freeform 5">
                <a:extLst>
                  <a:ext uri="{FF2B5EF4-FFF2-40B4-BE49-F238E27FC236}">
                    <a16:creationId xmlns:a16="http://schemas.microsoft.com/office/drawing/2014/main" id="{E37873F5-746A-5BAD-C175-37D897922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8478" y="3000108"/>
                <a:ext cx="156526" cy="422967"/>
              </a:xfrm>
              <a:custGeom>
                <a:avLst/>
                <a:gdLst>
                  <a:gd name="T0" fmla="*/ 18 w 73"/>
                  <a:gd name="T1" fmla="*/ 98 h 197"/>
                  <a:gd name="T2" fmla="*/ 0 w 73"/>
                  <a:gd name="T3" fmla="*/ 32 h 197"/>
                  <a:gd name="T4" fmla="*/ 45 w 73"/>
                  <a:gd name="T5" fmla="*/ 0 h 197"/>
                  <a:gd name="T6" fmla="*/ 73 w 73"/>
                  <a:gd name="T7" fmla="*/ 98 h 197"/>
                  <a:gd name="T8" fmla="*/ 45 w 73"/>
                  <a:gd name="T9" fmla="*/ 197 h 197"/>
                  <a:gd name="T10" fmla="*/ 0 w 73"/>
                  <a:gd name="T11" fmla="*/ 164 h 197"/>
                  <a:gd name="T12" fmla="*/ 18 w 73"/>
                  <a:gd name="T13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97">
                    <a:moveTo>
                      <a:pt x="18" y="98"/>
                    </a:moveTo>
                    <a:cubicBezTo>
                      <a:pt x="18" y="74"/>
                      <a:pt x="12" y="51"/>
                      <a:pt x="0" y="32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62" y="28"/>
                      <a:pt x="73" y="62"/>
                      <a:pt x="73" y="98"/>
                    </a:cubicBezTo>
                    <a:cubicBezTo>
                      <a:pt x="73" y="134"/>
                      <a:pt x="62" y="168"/>
                      <a:pt x="45" y="197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12" y="145"/>
                      <a:pt x="18" y="122"/>
                      <a:pt x="18" y="9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57" name="Freeform 6">
                <a:extLst>
                  <a:ext uri="{FF2B5EF4-FFF2-40B4-BE49-F238E27FC236}">
                    <a16:creationId xmlns:a16="http://schemas.microsoft.com/office/drawing/2014/main" id="{0A8BBFCB-243E-5DF4-5F81-33E28F23C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0382" y="3399423"/>
                <a:ext cx="400706" cy="212179"/>
              </a:xfrm>
              <a:custGeom>
                <a:avLst/>
                <a:gdLst>
                  <a:gd name="T0" fmla="*/ 44 w 187"/>
                  <a:gd name="T1" fmla="*/ 44 h 99"/>
                  <a:gd name="T2" fmla="*/ 142 w 187"/>
                  <a:gd name="T3" fmla="*/ 0 h 99"/>
                  <a:gd name="T4" fmla="*/ 187 w 187"/>
                  <a:gd name="T5" fmla="*/ 32 h 99"/>
                  <a:gd name="T6" fmla="*/ 44 w 187"/>
                  <a:gd name="T7" fmla="*/ 99 h 99"/>
                  <a:gd name="T8" fmla="*/ 0 w 187"/>
                  <a:gd name="T9" fmla="*/ 93 h 99"/>
                  <a:gd name="T10" fmla="*/ 16 w 187"/>
                  <a:gd name="T11" fmla="*/ 41 h 99"/>
                  <a:gd name="T12" fmla="*/ 44 w 187"/>
                  <a:gd name="T13" fmla="*/ 4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99">
                    <a:moveTo>
                      <a:pt x="44" y="44"/>
                    </a:moveTo>
                    <a:cubicBezTo>
                      <a:pt x="83" y="44"/>
                      <a:pt x="118" y="27"/>
                      <a:pt x="142" y="0"/>
                    </a:cubicBezTo>
                    <a:cubicBezTo>
                      <a:pt x="187" y="32"/>
                      <a:pt x="187" y="32"/>
                      <a:pt x="187" y="32"/>
                    </a:cubicBezTo>
                    <a:cubicBezTo>
                      <a:pt x="153" y="73"/>
                      <a:pt x="101" y="99"/>
                      <a:pt x="44" y="99"/>
                    </a:cubicBezTo>
                    <a:cubicBezTo>
                      <a:pt x="29" y="99"/>
                      <a:pt x="14" y="97"/>
                      <a:pt x="0" y="93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25" y="43"/>
                      <a:pt x="35" y="44"/>
                      <a:pt x="44" y="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58" name="Freeform 7">
                <a:extLst>
                  <a:ext uri="{FF2B5EF4-FFF2-40B4-BE49-F238E27FC236}">
                    <a16:creationId xmlns:a16="http://schemas.microsoft.com/office/drawing/2014/main" id="{54364BBA-6CB3-1444-7531-AA938054C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5679" y="3240810"/>
                <a:ext cx="285225" cy="340878"/>
              </a:xfrm>
              <a:custGeom>
                <a:avLst/>
                <a:gdLst>
                  <a:gd name="T0" fmla="*/ 133 w 133"/>
                  <a:gd name="T1" fmla="*/ 107 h 159"/>
                  <a:gd name="T2" fmla="*/ 116 w 133"/>
                  <a:gd name="T3" fmla="*/ 159 h 159"/>
                  <a:gd name="T4" fmla="*/ 0 w 133"/>
                  <a:gd name="T5" fmla="*/ 0 h 159"/>
                  <a:gd name="T6" fmla="*/ 55 w 133"/>
                  <a:gd name="T7" fmla="*/ 0 h 159"/>
                  <a:gd name="T8" fmla="*/ 133 w 133"/>
                  <a:gd name="T9" fmla="*/ 10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59">
                    <a:moveTo>
                      <a:pt x="133" y="107"/>
                    </a:moveTo>
                    <a:cubicBezTo>
                      <a:pt x="116" y="159"/>
                      <a:pt x="116" y="159"/>
                      <a:pt x="116" y="159"/>
                    </a:cubicBezTo>
                    <a:cubicBezTo>
                      <a:pt x="52" y="133"/>
                      <a:pt x="5" y="72"/>
                      <a:pt x="0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60" y="48"/>
                      <a:pt x="91" y="88"/>
                      <a:pt x="133" y="1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159" name="Groupe 158">
                <a:extLst>
                  <a:ext uri="{FF2B5EF4-FFF2-40B4-BE49-F238E27FC236}">
                    <a16:creationId xmlns:a16="http://schemas.microsoft.com/office/drawing/2014/main" id="{B1C1F6F1-4BA7-0A94-2802-2D8A15B037D2}"/>
                  </a:ext>
                </a:extLst>
              </p:cNvPr>
              <p:cNvGrpSpPr/>
              <p:nvPr/>
            </p:nvGrpSpPr>
            <p:grpSpPr>
              <a:xfrm>
                <a:off x="7732695" y="3012889"/>
                <a:ext cx="373769" cy="367434"/>
                <a:chOff x="7648735" y="3371441"/>
                <a:chExt cx="373769" cy="367434"/>
              </a:xfrm>
            </p:grpSpPr>
            <p:grpSp>
              <p:nvGrpSpPr>
                <p:cNvPr id="160" name="Graphique 149">
                  <a:extLst>
                    <a:ext uri="{FF2B5EF4-FFF2-40B4-BE49-F238E27FC236}">
                      <a16:creationId xmlns:a16="http://schemas.microsoft.com/office/drawing/2014/main" id="{2947E09C-0C0A-AB69-E66C-6C1DD3D8AA32}"/>
                    </a:ext>
                  </a:extLst>
                </p:cNvPr>
                <p:cNvGrpSpPr/>
                <p:nvPr/>
              </p:nvGrpSpPr>
              <p:grpSpPr>
                <a:xfrm>
                  <a:off x="7648735" y="3371441"/>
                  <a:ext cx="373769" cy="367434"/>
                  <a:chOff x="2704189" y="2000383"/>
                  <a:chExt cx="827036" cy="813018"/>
                </a:xfrm>
              </p:grpSpPr>
              <p:sp>
                <p:nvSpPr>
                  <p:cNvPr id="162" name="Forme libre : forme 161">
                    <a:extLst>
                      <a:ext uri="{FF2B5EF4-FFF2-40B4-BE49-F238E27FC236}">
                        <a16:creationId xmlns:a16="http://schemas.microsoft.com/office/drawing/2014/main" id="{72196914-F14D-43D2-5A40-5A0C7EA70D9D}"/>
                      </a:ext>
                    </a:extLst>
                  </p:cNvPr>
                  <p:cNvSpPr/>
                  <p:nvPr/>
                </p:nvSpPr>
                <p:spPr>
                  <a:xfrm>
                    <a:off x="3236857" y="2462963"/>
                    <a:ext cx="84105" cy="154193"/>
                  </a:xfrm>
                  <a:custGeom>
                    <a:avLst/>
                    <a:gdLst>
                      <a:gd name="connsiteX0" fmla="*/ 0 w 84105"/>
                      <a:gd name="connsiteY0" fmla="*/ 0 h 154193"/>
                      <a:gd name="connsiteX1" fmla="*/ 84105 w 84105"/>
                      <a:gd name="connsiteY1" fmla="*/ 0 h 154193"/>
                      <a:gd name="connsiteX2" fmla="*/ 84105 w 84105"/>
                      <a:gd name="connsiteY2" fmla="*/ 154193 h 154193"/>
                      <a:gd name="connsiteX3" fmla="*/ 0 w 84105"/>
                      <a:gd name="connsiteY3" fmla="*/ 154193 h 154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154193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154193"/>
                        </a:lnTo>
                        <a:lnTo>
                          <a:pt x="0" y="154193"/>
                        </a:lnTo>
                        <a:close/>
                      </a:path>
                    </a:pathLst>
                  </a:custGeom>
                  <a:solidFill>
                    <a:srgbClr val="582974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3" name="Forme libre : forme 162">
                    <a:extLst>
                      <a:ext uri="{FF2B5EF4-FFF2-40B4-BE49-F238E27FC236}">
                        <a16:creationId xmlns:a16="http://schemas.microsoft.com/office/drawing/2014/main" id="{CE1AF095-0101-60E0-CBBD-112BD811C364}"/>
                      </a:ext>
                    </a:extLst>
                  </p:cNvPr>
                  <p:cNvSpPr/>
                  <p:nvPr/>
                </p:nvSpPr>
                <p:spPr>
                  <a:xfrm>
                    <a:off x="3320962" y="2406893"/>
                    <a:ext cx="84105" cy="210263"/>
                  </a:xfrm>
                  <a:custGeom>
                    <a:avLst/>
                    <a:gdLst>
                      <a:gd name="connsiteX0" fmla="*/ 0 w 84105"/>
                      <a:gd name="connsiteY0" fmla="*/ 0 h 210263"/>
                      <a:gd name="connsiteX1" fmla="*/ 84105 w 84105"/>
                      <a:gd name="connsiteY1" fmla="*/ 0 h 210263"/>
                      <a:gd name="connsiteX2" fmla="*/ 84105 w 84105"/>
                      <a:gd name="connsiteY2" fmla="*/ 210263 h 210263"/>
                      <a:gd name="connsiteX3" fmla="*/ 0 w 84105"/>
                      <a:gd name="connsiteY3" fmla="*/ 210263 h 210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210263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210263"/>
                        </a:lnTo>
                        <a:lnTo>
                          <a:pt x="0" y="210263"/>
                        </a:lnTo>
                        <a:close/>
                      </a:path>
                    </a:pathLst>
                  </a:custGeom>
                  <a:solidFill>
                    <a:srgbClr val="9258A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4" name="Forme libre : forme 163">
                    <a:extLst>
                      <a:ext uri="{FF2B5EF4-FFF2-40B4-BE49-F238E27FC236}">
                        <a16:creationId xmlns:a16="http://schemas.microsoft.com/office/drawing/2014/main" id="{9BD82169-1FBC-A348-2B48-E8B876622BB8}"/>
                      </a:ext>
                    </a:extLst>
                  </p:cNvPr>
                  <p:cNvSpPr/>
                  <p:nvPr/>
                </p:nvSpPr>
                <p:spPr>
                  <a:xfrm>
                    <a:off x="3405067" y="2336805"/>
                    <a:ext cx="84105" cy="280351"/>
                  </a:xfrm>
                  <a:custGeom>
                    <a:avLst/>
                    <a:gdLst>
                      <a:gd name="connsiteX0" fmla="*/ 0 w 84105"/>
                      <a:gd name="connsiteY0" fmla="*/ 0 h 280351"/>
                      <a:gd name="connsiteX1" fmla="*/ 84105 w 84105"/>
                      <a:gd name="connsiteY1" fmla="*/ 0 h 280351"/>
                      <a:gd name="connsiteX2" fmla="*/ 84105 w 84105"/>
                      <a:gd name="connsiteY2" fmla="*/ 280351 h 280351"/>
                      <a:gd name="connsiteX3" fmla="*/ 0 w 84105"/>
                      <a:gd name="connsiteY3" fmla="*/ 280351 h 280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280351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280351"/>
                        </a:lnTo>
                        <a:lnTo>
                          <a:pt x="0" y="280351"/>
                        </a:lnTo>
                        <a:close/>
                      </a:path>
                    </a:pathLst>
                  </a:custGeom>
                  <a:solidFill>
                    <a:srgbClr val="AE80BA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5" name="Forme libre : forme 164">
                    <a:extLst>
                      <a:ext uri="{FF2B5EF4-FFF2-40B4-BE49-F238E27FC236}">
                        <a16:creationId xmlns:a16="http://schemas.microsoft.com/office/drawing/2014/main" id="{CBC81216-1E92-5814-8252-AFA80F9409DF}"/>
                      </a:ext>
                    </a:extLst>
                  </p:cNvPr>
                  <p:cNvSpPr/>
                  <p:nvPr/>
                </p:nvSpPr>
                <p:spPr>
                  <a:xfrm>
                    <a:off x="3114403" y="2490982"/>
                    <a:ext cx="416822" cy="140191"/>
                  </a:xfrm>
                  <a:custGeom>
                    <a:avLst/>
                    <a:gdLst>
                      <a:gd name="connsiteX0" fmla="*/ 416823 w 416822"/>
                      <a:gd name="connsiteY0" fmla="*/ 140191 h 140191"/>
                      <a:gd name="connsiteX1" fmla="*/ 108436 w 416822"/>
                      <a:gd name="connsiteY1" fmla="*/ 140191 h 140191"/>
                      <a:gd name="connsiteX2" fmla="*/ 97667 w 416822"/>
                      <a:gd name="connsiteY2" fmla="*/ 135147 h 140191"/>
                      <a:gd name="connsiteX3" fmla="*/ 0 w 416822"/>
                      <a:gd name="connsiteY3" fmla="*/ 17946 h 140191"/>
                      <a:gd name="connsiteX4" fmla="*/ 21538 w 416822"/>
                      <a:gd name="connsiteY4" fmla="*/ 0 h 140191"/>
                      <a:gd name="connsiteX5" fmla="*/ 115002 w 416822"/>
                      <a:gd name="connsiteY5" fmla="*/ 112156 h 140191"/>
                      <a:gd name="connsiteX6" fmla="*/ 416823 w 416822"/>
                      <a:gd name="connsiteY6" fmla="*/ 112156 h 140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16822" h="140191">
                        <a:moveTo>
                          <a:pt x="416823" y="140191"/>
                        </a:moveTo>
                        <a:lnTo>
                          <a:pt x="108436" y="140191"/>
                        </a:lnTo>
                        <a:cubicBezTo>
                          <a:pt x="104277" y="140191"/>
                          <a:pt x="100331" y="138343"/>
                          <a:pt x="97667" y="135147"/>
                        </a:cubicBezTo>
                        <a:lnTo>
                          <a:pt x="0" y="17946"/>
                        </a:lnTo>
                        <a:lnTo>
                          <a:pt x="21538" y="0"/>
                        </a:lnTo>
                        <a:lnTo>
                          <a:pt x="115002" y="112156"/>
                        </a:lnTo>
                        <a:lnTo>
                          <a:pt x="416823" y="112156"/>
                        </a:lnTo>
                        <a:close/>
                      </a:path>
                    </a:pathLst>
                  </a:custGeom>
                  <a:solidFill>
                    <a:srgbClr val="AFB9D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6" name="Forme libre : forme 165">
                    <a:extLst>
                      <a:ext uri="{FF2B5EF4-FFF2-40B4-BE49-F238E27FC236}">
                        <a16:creationId xmlns:a16="http://schemas.microsoft.com/office/drawing/2014/main" id="{899D2DB3-EEB1-6EAB-D77E-5EF4C0F24D39}"/>
                      </a:ext>
                    </a:extLst>
                  </p:cNvPr>
                  <p:cNvSpPr/>
                  <p:nvPr/>
                </p:nvSpPr>
                <p:spPr>
                  <a:xfrm>
                    <a:off x="3108307" y="2308770"/>
                    <a:ext cx="198637" cy="98369"/>
                  </a:xfrm>
                  <a:custGeom>
                    <a:avLst/>
                    <a:gdLst>
                      <a:gd name="connsiteX0" fmla="*/ 17513 w 198637"/>
                      <a:gd name="connsiteY0" fmla="*/ 98370 h 98369"/>
                      <a:gd name="connsiteX1" fmla="*/ 0 w 198637"/>
                      <a:gd name="connsiteY1" fmla="*/ 76476 h 98369"/>
                      <a:gd name="connsiteX2" fmla="*/ 91757 w 198637"/>
                      <a:gd name="connsiteY2" fmla="*/ 3072 h 98369"/>
                      <a:gd name="connsiteX3" fmla="*/ 100515 w 198637"/>
                      <a:gd name="connsiteY3" fmla="*/ 0 h 98369"/>
                      <a:gd name="connsiteX4" fmla="*/ 198638 w 198637"/>
                      <a:gd name="connsiteY4" fmla="*/ 0 h 98369"/>
                      <a:gd name="connsiteX5" fmla="*/ 198638 w 198637"/>
                      <a:gd name="connsiteY5" fmla="*/ 28035 h 98369"/>
                      <a:gd name="connsiteX6" fmla="*/ 105431 w 198637"/>
                      <a:gd name="connsiteY6" fmla="*/ 28035 h 983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98637" h="98369">
                        <a:moveTo>
                          <a:pt x="17513" y="98370"/>
                        </a:moveTo>
                        <a:lnTo>
                          <a:pt x="0" y="76476"/>
                        </a:lnTo>
                        <a:lnTo>
                          <a:pt x="91757" y="3072"/>
                        </a:lnTo>
                        <a:cubicBezTo>
                          <a:pt x="94244" y="1083"/>
                          <a:pt x="97331" y="0"/>
                          <a:pt x="100515" y="0"/>
                        </a:cubicBezTo>
                        <a:lnTo>
                          <a:pt x="198638" y="0"/>
                        </a:lnTo>
                        <a:lnTo>
                          <a:pt x="198638" y="28035"/>
                        </a:lnTo>
                        <a:lnTo>
                          <a:pt x="105431" y="28035"/>
                        </a:lnTo>
                        <a:close/>
                      </a:path>
                    </a:pathLst>
                  </a:custGeom>
                  <a:solidFill>
                    <a:srgbClr val="AFB9D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7" name="Forme libre : forme 166">
                    <a:extLst>
                      <a:ext uri="{FF2B5EF4-FFF2-40B4-BE49-F238E27FC236}">
                        <a16:creationId xmlns:a16="http://schemas.microsoft.com/office/drawing/2014/main" id="{2AFE5FF1-186F-F174-12C0-D783E90D9910}"/>
                      </a:ext>
                    </a:extLst>
                  </p:cNvPr>
                  <p:cNvSpPr/>
                  <p:nvPr/>
                </p:nvSpPr>
                <p:spPr>
                  <a:xfrm>
                    <a:off x="2830347" y="2182612"/>
                    <a:ext cx="336421" cy="406509"/>
                  </a:xfrm>
                  <a:custGeom>
                    <a:avLst/>
                    <a:gdLst>
                      <a:gd name="connsiteX0" fmla="*/ 56070 w 336421"/>
                      <a:gd name="connsiteY0" fmla="*/ 406509 h 406509"/>
                      <a:gd name="connsiteX1" fmla="*/ 24129 w 336421"/>
                      <a:gd name="connsiteY1" fmla="*/ 358597 h 406509"/>
                      <a:gd name="connsiteX2" fmla="*/ 0 w 336421"/>
                      <a:gd name="connsiteY2" fmla="*/ 278904 h 406509"/>
                      <a:gd name="connsiteX3" fmla="*/ 36290 w 336421"/>
                      <a:gd name="connsiteY3" fmla="*/ 183455 h 406509"/>
                      <a:gd name="connsiteX4" fmla="*/ 112141 w 336421"/>
                      <a:gd name="connsiteY4" fmla="*/ 98123 h 406509"/>
                      <a:gd name="connsiteX5" fmla="*/ 96262 w 336421"/>
                      <a:gd name="connsiteY5" fmla="*/ 58427 h 406509"/>
                      <a:gd name="connsiteX6" fmla="*/ 104718 w 336421"/>
                      <a:gd name="connsiteY6" fmla="*/ 38692 h 406509"/>
                      <a:gd name="connsiteX7" fmla="*/ 115158 w 336421"/>
                      <a:gd name="connsiteY7" fmla="*/ 38385 h 406509"/>
                      <a:gd name="connsiteX8" fmla="*/ 132590 w 336421"/>
                      <a:gd name="connsiteY8" fmla="*/ 32405 h 406509"/>
                      <a:gd name="connsiteX9" fmla="*/ 146417 w 336421"/>
                      <a:gd name="connsiteY9" fmla="*/ 11663 h 406509"/>
                      <a:gd name="connsiteX10" fmla="*/ 168211 w 336421"/>
                      <a:gd name="connsiteY10" fmla="*/ 0 h 406509"/>
                      <a:gd name="connsiteX11" fmla="*/ 190005 w 336421"/>
                      <a:gd name="connsiteY11" fmla="*/ 11663 h 406509"/>
                      <a:gd name="connsiteX12" fmla="*/ 203831 w 336421"/>
                      <a:gd name="connsiteY12" fmla="*/ 32405 h 406509"/>
                      <a:gd name="connsiteX13" fmla="*/ 221264 w 336421"/>
                      <a:gd name="connsiteY13" fmla="*/ 38385 h 406509"/>
                      <a:gd name="connsiteX14" fmla="*/ 240466 w 336421"/>
                      <a:gd name="connsiteY14" fmla="*/ 47987 h 406509"/>
                      <a:gd name="connsiteX15" fmla="*/ 240159 w 336421"/>
                      <a:gd name="connsiteY15" fmla="*/ 58427 h 406509"/>
                      <a:gd name="connsiteX16" fmla="*/ 224281 w 336421"/>
                      <a:gd name="connsiteY16" fmla="*/ 98123 h 406509"/>
                      <a:gd name="connsiteX17" fmla="*/ 300132 w 336421"/>
                      <a:gd name="connsiteY17" fmla="*/ 183455 h 406509"/>
                      <a:gd name="connsiteX18" fmla="*/ 336422 w 336421"/>
                      <a:gd name="connsiteY18" fmla="*/ 278904 h 406509"/>
                      <a:gd name="connsiteX19" fmla="*/ 312292 w 336421"/>
                      <a:gd name="connsiteY19" fmla="*/ 358597 h 406509"/>
                      <a:gd name="connsiteX20" fmla="*/ 280351 w 336421"/>
                      <a:gd name="connsiteY20" fmla="*/ 406509 h 4065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336421" h="406509">
                        <a:moveTo>
                          <a:pt x="56070" y="406509"/>
                        </a:moveTo>
                        <a:lnTo>
                          <a:pt x="24129" y="358597"/>
                        </a:lnTo>
                        <a:cubicBezTo>
                          <a:pt x="8397" y="334997"/>
                          <a:pt x="0" y="307268"/>
                          <a:pt x="0" y="278904"/>
                        </a:cubicBezTo>
                        <a:cubicBezTo>
                          <a:pt x="0" y="243718"/>
                          <a:pt x="12914" y="209754"/>
                          <a:pt x="36290" y="183455"/>
                        </a:cubicBezTo>
                        <a:lnTo>
                          <a:pt x="112141" y="98123"/>
                        </a:lnTo>
                        <a:lnTo>
                          <a:pt x="96262" y="58427"/>
                        </a:lnTo>
                        <a:cubicBezTo>
                          <a:pt x="93148" y="50642"/>
                          <a:pt x="96935" y="41807"/>
                          <a:pt x="104718" y="38692"/>
                        </a:cubicBezTo>
                        <a:cubicBezTo>
                          <a:pt x="108053" y="37359"/>
                          <a:pt x="111752" y="37250"/>
                          <a:pt x="115158" y="38385"/>
                        </a:cubicBezTo>
                        <a:cubicBezTo>
                          <a:pt x="121653" y="40551"/>
                          <a:pt x="128792" y="38101"/>
                          <a:pt x="132590" y="32405"/>
                        </a:cubicBezTo>
                        <a:lnTo>
                          <a:pt x="146417" y="11663"/>
                        </a:lnTo>
                        <a:cubicBezTo>
                          <a:pt x="151276" y="4377"/>
                          <a:pt x="159453" y="0"/>
                          <a:pt x="168211" y="0"/>
                        </a:cubicBezTo>
                        <a:cubicBezTo>
                          <a:pt x="176968" y="0"/>
                          <a:pt x="185146" y="4377"/>
                          <a:pt x="190005" y="11663"/>
                        </a:cubicBezTo>
                        <a:lnTo>
                          <a:pt x="203831" y="32405"/>
                        </a:lnTo>
                        <a:cubicBezTo>
                          <a:pt x="207628" y="38101"/>
                          <a:pt x="214768" y="40551"/>
                          <a:pt x="221264" y="38385"/>
                        </a:cubicBezTo>
                        <a:cubicBezTo>
                          <a:pt x="229217" y="35734"/>
                          <a:pt x="237815" y="40032"/>
                          <a:pt x="240466" y="47987"/>
                        </a:cubicBezTo>
                        <a:cubicBezTo>
                          <a:pt x="241601" y="51394"/>
                          <a:pt x="241493" y="55093"/>
                          <a:pt x="240159" y="58427"/>
                        </a:cubicBezTo>
                        <a:lnTo>
                          <a:pt x="224281" y="98123"/>
                        </a:lnTo>
                        <a:lnTo>
                          <a:pt x="300132" y="183455"/>
                        </a:lnTo>
                        <a:cubicBezTo>
                          <a:pt x="323508" y="209754"/>
                          <a:pt x="336422" y="243718"/>
                          <a:pt x="336422" y="278904"/>
                        </a:cubicBezTo>
                        <a:cubicBezTo>
                          <a:pt x="336422" y="307268"/>
                          <a:pt x="328025" y="334997"/>
                          <a:pt x="312292" y="358597"/>
                        </a:cubicBezTo>
                        <a:lnTo>
                          <a:pt x="280351" y="406509"/>
                        </a:lnTo>
                        <a:close/>
                      </a:path>
                    </a:pathLst>
                  </a:custGeom>
                  <a:solidFill>
                    <a:srgbClr val="FF9B1E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8" name="Forme libre : forme 167">
                    <a:extLst>
                      <a:ext uri="{FF2B5EF4-FFF2-40B4-BE49-F238E27FC236}">
                        <a16:creationId xmlns:a16="http://schemas.microsoft.com/office/drawing/2014/main" id="{EF18EE5A-2ED0-F240-066E-42F12C57BB5C}"/>
                      </a:ext>
                    </a:extLst>
                  </p:cNvPr>
                  <p:cNvSpPr/>
                  <p:nvPr/>
                </p:nvSpPr>
                <p:spPr>
                  <a:xfrm>
                    <a:off x="2704189" y="2491003"/>
                    <a:ext cx="434544" cy="322398"/>
                  </a:xfrm>
                  <a:custGeom>
                    <a:avLst/>
                    <a:gdLst>
                      <a:gd name="connsiteX0" fmla="*/ 434544 w 434544"/>
                      <a:gd name="connsiteY0" fmla="*/ 122228 h 322398"/>
                      <a:gd name="connsiteX1" fmla="*/ 417355 w 434544"/>
                      <a:gd name="connsiteY1" fmla="*/ 145322 h 322398"/>
                      <a:gd name="connsiteX2" fmla="*/ 294369 w 434544"/>
                      <a:gd name="connsiteY2" fmla="*/ 182223 h 322398"/>
                      <a:gd name="connsiteX3" fmla="*/ 266334 w 434544"/>
                      <a:gd name="connsiteY3" fmla="*/ 238293 h 322398"/>
                      <a:gd name="connsiteX4" fmla="*/ 168211 w 434544"/>
                      <a:gd name="connsiteY4" fmla="*/ 280346 h 322398"/>
                      <a:gd name="connsiteX5" fmla="*/ 112141 w 434544"/>
                      <a:gd name="connsiteY5" fmla="*/ 322399 h 322398"/>
                      <a:gd name="connsiteX6" fmla="*/ 0 w 434544"/>
                      <a:gd name="connsiteY6" fmla="*/ 322399 h 322398"/>
                      <a:gd name="connsiteX7" fmla="*/ 0 w 434544"/>
                      <a:gd name="connsiteY7" fmla="*/ 140170 h 322398"/>
                      <a:gd name="connsiteX8" fmla="*/ 40003 w 434544"/>
                      <a:gd name="connsiteY8" fmla="*/ 109402 h 322398"/>
                      <a:gd name="connsiteX9" fmla="*/ 173765 w 434544"/>
                      <a:gd name="connsiteY9" fmla="*/ 6495 h 322398"/>
                      <a:gd name="connsiteX10" fmla="*/ 217787 w 434544"/>
                      <a:gd name="connsiteY10" fmla="*/ 12278 h 322398"/>
                      <a:gd name="connsiteX11" fmla="*/ 224281 w 434544"/>
                      <a:gd name="connsiteY11" fmla="*/ 31377 h 322398"/>
                      <a:gd name="connsiteX12" fmla="*/ 223072 w 434544"/>
                      <a:gd name="connsiteY12" fmla="*/ 41767 h 322398"/>
                      <a:gd name="connsiteX13" fmla="*/ 219515 w 434544"/>
                      <a:gd name="connsiteY13" fmla="*/ 51597 h 322398"/>
                      <a:gd name="connsiteX14" fmla="*/ 196246 w 434544"/>
                      <a:gd name="connsiteY14" fmla="*/ 98118 h 322398"/>
                      <a:gd name="connsiteX15" fmla="*/ 410434 w 434544"/>
                      <a:gd name="connsiteY15" fmla="*/ 98118 h 322398"/>
                      <a:gd name="connsiteX16" fmla="*/ 434544 w 434544"/>
                      <a:gd name="connsiteY16" fmla="*/ 122224 h 322398"/>
                      <a:gd name="connsiteX17" fmla="*/ 434544 w 434544"/>
                      <a:gd name="connsiteY17" fmla="*/ 122228 h 3223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34544" h="322398">
                        <a:moveTo>
                          <a:pt x="434544" y="122228"/>
                        </a:moveTo>
                        <a:cubicBezTo>
                          <a:pt x="434555" y="132881"/>
                          <a:pt x="427564" y="142275"/>
                          <a:pt x="417355" y="145322"/>
                        </a:cubicBezTo>
                        <a:lnTo>
                          <a:pt x="294369" y="182223"/>
                        </a:lnTo>
                        <a:lnTo>
                          <a:pt x="266334" y="238293"/>
                        </a:lnTo>
                        <a:lnTo>
                          <a:pt x="168211" y="280346"/>
                        </a:lnTo>
                        <a:lnTo>
                          <a:pt x="112141" y="322399"/>
                        </a:lnTo>
                        <a:lnTo>
                          <a:pt x="0" y="322399"/>
                        </a:lnTo>
                        <a:lnTo>
                          <a:pt x="0" y="140170"/>
                        </a:lnTo>
                        <a:lnTo>
                          <a:pt x="40003" y="109402"/>
                        </a:lnTo>
                        <a:lnTo>
                          <a:pt x="173765" y="6495"/>
                        </a:lnTo>
                        <a:cubicBezTo>
                          <a:pt x="187518" y="-4065"/>
                          <a:pt x="207227" y="-1475"/>
                          <a:pt x="217787" y="12278"/>
                        </a:cubicBezTo>
                        <a:cubicBezTo>
                          <a:pt x="221994" y="17755"/>
                          <a:pt x="224276" y="24469"/>
                          <a:pt x="224281" y="31377"/>
                        </a:cubicBezTo>
                        <a:cubicBezTo>
                          <a:pt x="224283" y="34876"/>
                          <a:pt x="223878" y="38363"/>
                          <a:pt x="223072" y="41767"/>
                        </a:cubicBezTo>
                        <a:cubicBezTo>
                          <a:pt x="222282" y="45173"/>
                          <a:pt x="221087" y="48473"/>
                          <a:pt x="219515" y="51597"/>
                        </a:cubicBezTo>
                        <a:lnTo>
                          <a:pt x="196246" y="98118"/>
                        </a:lnTo>
                        <a:lnTo>
                          <a:pt x="410434" y="98118"/>
                        </a:lnTo>
                        <a:cubicBezTo>
                          <a:pt x="423749" y="98118"/>
                          <a:pt x="434544" y="108909"/>
                          <a:pt x="434544" y="122224"/>
                        </a:cubicBezTo>
                        <a:cubicBezTo>
                          <a:pt x="434544" y="122226"/>
                          <a:pt x="434544" y="122226"/>
                          <a:pt x="434544" y="122228"/>
                        </a:cubicBezTo>
                        <a:close/>
                      </a:path>
                    </a:pathLst>
                  </a:custGeom>
                  <a:solidFill>
                    <a:srgbClr val="FFCEB6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69" name="Forme libre : forme 168">
                    <a:extLst>
                      <a:ext uri="{FF2B5EF4-FFF2-40B4-BE49-F238E27FC236}">
                        <a16:creationId xmlns:a16="http://schemas.microsoft.com/office/drawing/2014/main" id="{6C0DA2A3-C10B-5CAB-C24E-2258C75CE213}"/>
                      </a:ext>
                    </a:extLst>
                  </p:cNvPr>
                  <p:cNvSpPr/>
                  <p:nvPr/>
                </p:nvSpPr>
                <p:spPr>
                  <a:xfrm>
                    <a:off x="2704189" y="2600405"/>
                    <a:ext cx="168210" cy="212996"/>
                  </a:xfrm>
                  <a:custGeom>
                    <a:avLst/>
                    <a:gdLst>
                      <a:gd name="connsiteX0" fmla="*/ 168211 w 168210"/>
                      <a:gd name="connsiteY0" fmla="*/ 170944 h 212996"/>
                      <a:gd name="connsiteX1" fmla="*/ 112141 w 168210"/>
                      <a:gd name="connsiteY1" fmla="*/ 212997 h 212996"/>
                      <a:gd name="connsiteX2" fmla="*/ 0 w 168210"/>
                      <a:gd name="connsiteY2" fmla="*/ 212997 h 212996"/>
                      <a:gd name="connsiteX3" fmla="*/ 0 w 168210"/>
                      <a:gd name="connsiteY3" fmla="*/ 30769 h 212996"/>
                      <a:gd name="connsiteX4" fmla="*/ 40003 w 168210"/>
                      <a:gd name="connsiteY4" fmla="*/ 0 h 212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8210" h="212996">
                        <a:moveTo>
                          <a:pt x="168211" y="170944"/>
                        </a:moveTo>
                        <a:lnTo>
                          <a:pt x="112141" y="212997"/>
                        </a:lnTo>
                        <a:lnTo>
                          <a:pt x="0" y="212997"/>
                        </a:lnTo>
                        <a:lnTo>
                          <a:pt x="0" y="30769"/>
                        </a:lnTo>
                        <a:lnTo>
                          <a:pt x="40003" y="0"/>
                        </a:lnTo>
                        <a:close/>
                      </a:path>
                    </a:pathLst>
                  </a:custGeom>
                  <a:solidFill>
                    <a:srgbClr val="9258A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70" name="Forme libre : forme 169">
                    <a:extLst>
                      <a:ext uri="{FF2B5EF4-FFF2-40B4-BE49-F238E27FC236}">
                        <a16:creationId xmlns:a16="http://schemas.microsoft.com/office/drawing/2014/main" id="{27652153-9E04-E817-A325-4F4A356384E0}"/>
                      </a:ext>
                    </a:extLst>
                  </p:cNvPr>
                  <p:cNvSpPr/>
                  <p:nvPr/>
                </p:nvSpPr>
                <p:spPr>
                  <a:xfrm>
                    <a:off x="2942488" y="2266717"/>
                    <a:ext cx="112140" cy="98438"/>
                  </a:xfrm>
                  <a:custGeom>
                    <a:avLst/>
                    <a:gdLst>
                      <a:gd name="connsiteX0" fmla="*/ 98123 w 112140"/>
                      <a:gd name="connsiteY0" fmla="*/ 0 h 98438"/>
                      <a:gd name="connsiteX1" fmla="*/ 14018 w 112140"/>
                      <a:gd name="connsiteY1" fmla="*/ 0 h 98438"/>
                      <a:gd name="connsiteX2" fmla="*/ 0 w 112140"/>
                      <a:gd name="connsiteY2" fmla="*/ 14018 h 98438"/>
                      <a:gd name="connsiteX3" fmla="*/ 14018 w 112140"/>
                      <a:gd name="connsiteY3" fmla="*/ 28035 h 98438"/>
                      <a:gd name="connsiteX4" fmla="*/ 24613 w 112140"/>
                      <a:gd name="connsiteY4" fmla="*/ 28035 h 98438"/>
                      <a:gd name="connsiteX5" fmla="*/ 11023 w 112140"/>
                      <a:gd name="connsiteY5" fmla="*/ 86485 h 98438"/>
                      <a:gd name="connsiteX6" fmla="*/ 26845 w 112140"/>
                      <a:gd name="connsiteY6" fmla="*/ 98289 h 98438"/>
                      <a:gd name="connsiteX7" fmla="*/ 29328 w 112140"/>
                      <a:gd name="connsiteY7" fmla="*/ 97692 h 98438"/>
                      <a:gd name="connsiteX8" fmla="*/ 38823 w 112140"/>
                      <a:gd name="connsiteY8" fmla="*/ 82796 h 98438"/>
                      <a:gd name="connsiteX9" fmla="*/ 55273 w 112140"/>
                      <a:gd name="connsiteY9" fmla="*/ 34639 h 98438"/>
                      <a:gd name="connsiteX10" fmla="*/ 56070 w 112140"/>
                      <a:gd name="connsiteY10" fmla="*/ 33840 h 98438"/>
                      <a:gd name="connsiteX11" fmla="*/ 56866 w 112140"/>
                      <a:gd name="connsiteY11" fmla="*/ 34637 h 98438"/>
                      <a:gd name="connsiteX12" fmla="*/ 73317 w 112140"/>
                      <a:gd name="connsiteY12" fmla="*/ 82796 h 98438"/>
                      <a:gd name="connsiteX13" fmla="*/ 82812 w 112140"/>
                      <a:gd name="connsiteY13" fmla="*/ 97692 h 98438"/>
                      <a:gd name="connsiteX14" fmla="*/ 100520 w 112140"/>
                      <a:gd name="connsiteY14" fmla="*/ 88968 h 98438"/>
                      <a:gd name="connsiteX15" fmla="*/ 101117 w 112140"/>
                      <a:gd name="connsiteY15" fmla="*/ 86485 h 98438"/>
                      <a:gd name="connsiteX16" fmla="*/ 87527 w 112140"/>
                      <a:gd name="connsiteY16" fmla="*/ 28035 h 98438"/>
                      <a:gd name="connsiteX17" fmla="*/ 98123 w 112140"/>
                      <a:gd name="connsiteY17" fmla="*/ 28035 h 98438"/>
                      <a:gd name="connsiteX18" fmla="*/ 112141 w 112140"/>
                      <a:gd name="connsiteY18" fmla="*/ 14018 h 98438"/>
                      <a:gd name="connsiteX19" fmla="*/ 98123 w 112140"/>
                      <a:gd name="connsiteY19" fmla="*/ 0 h 984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2140" h="98438">
                        <a:moveTo>
                          <a:pt x="98123" y="0"/>
                        </a:moveTo>
                        <a:lnTo>
                          <a:pt x="14018" y="0"/>
                        </a:lnTo>
                        <a:cubicBezTo>
                          <a:pt x="6276" y="0"/>
                          <a:pt x="0" y="6276"/>
                          <a:pt x="0" y="14018"/>
                        </a:cubicBezTo>
                        <a:cubicBezTo>
                          <a:pt x="0" y="21759"/>
                          <a:pt x="6276" y="28035"/>
                          <a:pt x="14018" y="28035"/>
                        </a:cubicBezTo>
                        <a:lnTo>
                          <a:pt x="24613" y="28035"/>
                        </a:lnTo>
                        <a:cubicBezTo>
                          <a:pt x="13127" y="45219"/>
                          <a:pt x="8297" y="65996"/>
                          <a:pt x="11023" y="86485"/>
                        </a:cubicBezTo>
                        <a:cubicBezTo>
                          <a:pt x="12132" y="94114"/>
                          <a:pt x="19216" y="99399"/>
                          <a:pt x="26845" y="98289"/>
                        </a:cubicBezTo>
                        <a:cubicBezTo>
                          <a:pt x="27688" y="98167"/>
                          <a:pt x="28520" y="97967"/>
                          <a:pt x="29328" y="97692"/>
                        </a:cubicBezTo>
                        <a:cubicBezTo>
                          <a:pt x="35645" y="95631"/>
                          <a:pt x="39621" y="89392"/>
                          <a:pt x="38823" y="82796"/>
                        </a:cubicBezTo>
                        <a:cubicBezTo>
                          <a:pt x="36493" y="65056"/>
                          <a:pt x="42577" y="47246"/>
                          <a:pt x="55273" y="34639"/>
                        </a:cubicBezTo>
                        <a:lnTo>
                          <a:pt x="56070" y="33840"/>
                        </a:lnTo>
                        <a:lnTo>
                          <a:pt x="56866" y="34637"/>
                        </a:lnTo>
                        <a:cubicBezTo>
                          <a:pt x="69562" y="47244"/>
                          <a:pt x="75648" y="65056"/>
                          <a:pt x="73317" y="82796"/>
                        </a:cubicBezTo>
                        <a:cubicBezTo>
                          <a:pt x="72520" y="89392"/>
                          <a:pt x="76496" y="95631"/>
                          <a:pt x="82812" y="97692"/>
                        </a:cubicBezTo>
                        <a:cubicBezTo>
                          <a:pt x="90112" y="100173"/>
                          <a:pt x="98039" y="96267"/>
                          <a:pt x="100520" y="88968"/>
                        </a:cubicBezTo>
                        <a:cubicBezTo>
                          <a:pt x="100795" y="88160"/>
                          <a:pt x="100995" y="87329"/>
                          <a:pt x="101117" y="86485"/>
                        </a:cubicBezTo>
                        <a:cubicBezTo>
                          <a:pt x="103844" y="65996"/>
                          <a:pt x="99013" y="45219"/>
                          <a:pt x="87527" y="28035"/>
                        </a:cubicBezTo>
                        <a:lnTo>
                          <a:pt x="98123" y="28035"/>
                        </a:lnTo>
                        <a:cubicBezTo>
                          <a:pt x="105864" y="28035"/>
                          <a:pt x="112141" y="21759"/>
                          <a:pt x="112141" y="14018"/>
                        </a:cubicBezTo>
                        <a:cubicBezTo>
                          <a:pt x="112141" y="6276"/>
                          <a:pt x="105864" y="0"/>
                          <a:pt x="98123" y="0"/>
                        </a:cubicBezTo>
                        <a:close/>
                      </a:path>
                    </a:pathLst>
                  </a:custGeom>
                  <a:solidFill>
                    <a:srgbClr val="582974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71" name="Forme libre : forme 170">
                    <a:extLst>
                      <a:ext uri="{FF2B5EF4-FFF2-40B4-BE49-F238E27FC236}">
                        <a16:creationId xmlns:a16="http://schemas.microsoft.com/office/drawing/2014/main" id="{3CC0E805-1CD7-79AF-282F-88B3920B6D17}"/>
                      </a:ext>
                    </a:extLst>
                  </p:cNvPr>
                  <p:cNvSpPr/>
                  <p:nvPr/>
                </p:nvSpPr>
                <p:spPr>
                  <a:xfrm>
                    <a:off x="3236850" y="2000383"/>
                    <a:ext cx="280358" cy="280358"/>
                  </a:xfrm>
                  <a:custGeom>
                    <a:avLst/>
                    <a:gdLst>
                      <a:gd name="connsiteX0" fmla="*/ 140183 w 280358"/>
                      <a:gd name="connsiteY0" fmla="*/ 0 h 280358"/>
                      <a:gd name="connsiteX1" fmla="*/ 0 w 280358"/>
                      <a:gd name="connsiteY1" fmla="*/ 140176 h 280358"/>
                      <a:gd name="connsiteX2" fmla="*/ 140176 w 280358"/>
                      <a:gd name="connsiteY2" fmla="*/ 280358 h 280358"/>
                      <a:gd name="connsiteX3" fmla="*/ 280358 w 280358"/>
                      <a:gd name="connsiteY3" fmla="*/ 140183 h 280358"/>
                      <a:gd name="connsiteX4" fmla="*/ 280358 w 280358"/>
                      <a:gd name="connsiteY4" fmla="*/ 140176 h 280358"/>
                      <a:gd name="connsiteX5" fmla="*/ 140183 w 280358"/>
                      <a:gd name="connsiteY5" fmla="*/ 0 h 280358"/>
                      <a:gd name="connsiteX6" fmla="*/ 140183 w 280358"/>
                      <a:gd name="connsiteY6" fmla="*/ 196246 h 280358"/>
                      <a:gd name="connsiteX7" fmla="*/ 84142 w 280358"/>
                      <a:gd name="connsiteY7" fmla="*/ 140176 h 280358"/>
                      <a:gd name="connsiteX8" fmla="*/ 140212 w 280358"/>
                      <a:gd name="connsiteY8" fmla="*/ 84136 h 280358"/>
                      <a:gd name="connsiteX9" fmla="*/ 196253 w 280358"/>
                      <a:gd name="connsiteY9" fmla="*/ 140205 h 280358"/>
                      <a:gd name="connsiteX10" fmla="*/ 179835 w 280358"/>
                      <a:gd name="connsiteY10" fmla="*/ 179828 h 280358"/>
                      <a:gd name="connsiteX11" fmla="*/ 140183 w 280358"/>
                      <a:gd name="connsiteY11" fmla="*/ 196246 h 280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80358" h="280358">
                        <a:moveTo>
                          <a:pt x="140183" y="0"/>
                        </a:moveTo>
                        <a:cubicBezTo>
                          <a:pt x="62764" y="-2"/>
                          <a:pt x="2" y="62757"/>
                          <a:pt x="0" y="140176"/>
                        </a:cubicBezTo>
                        <a:cubicBezTo>
                          <a:pt x="-4" y="217595"/>
                          <a:pt x="62757" y="280357"/>
                          <a:pt x="140176" y="280358"/>
                        </a:cubicBezTo>
                        <a:cubicBezTo>
                          <a:pt x="217595" y="280362"/>
                          <a:pt x="280357" y="217602"/>
                          <a:pt x="280358" y="140183"/>
                        </a:cubicBezTo>
                        <a:cubicBezTo>
                          <a:pt x="280358" y="140181"/>
                          <a:pt x="280358" y="140177"/>
                          <a:pt x="280358" y="140176"/>
                        </a:cubicBezTo>
                        <a:cubicBezTo>
                          <a:pt x="280355" y="62760"/>
                          <a:pt x="217598" y="4"/>
                          <a:pt x="140183" y="0"/>
                        </a:cubicBezTo>
                        <a:close/>
                        <a:moveTo>
                          <a:pt x="140183" y="196246"/>
                        </a:moveTo>
                        <a:cubicBezTo>
                          <a:pt x="109225" y="196237"/>
                          <a:pt x="84133" y="171133"/>
                          <a:pt x="84142" y="140176"/>
                        </a:cubicBezTo>
                        <a:cubicBezTo>
                          <a:pt x="84151" y="109217"/>
                          <a:pt x="109255" y="84127"/>
                          <a:pt x="140212" y="84136"/>
                        </a:cubicBezTo>
                        <a:cubicBezTo>
                          <a:pt x="171172" y="84144"/>
                          <a:pt x="196262" y="109247"/>
                          <a:pt x="196253" y="140205"/>
                        </a:cubicBezTo>
                        <a:cubicBezTo>
                          <a:pt x="196249" y="155068"/>
                          <a:pt x="190343" y="169318"/>
                          <a:pt x="179835" y="179828"/>
                        </a:cubicBezTo>
                        <a:cubicBezTo>
                          <a:pt x="169318" y="190341"/>
                          <a:pt x="155054" y="196248"/>
                          <a:pt x="140183" y="196246"/>
                        </a:cubicBezTo>
                        <a:close/>
                      </a:path>
                    </a:pathLst>
                  </a:custGeom>
                  <a:solidFill>
                    <a:srgbClr val="FF7645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72" name="Forme libre : forme 171">
                    <a:extLst>
                      <a:ext uri="{FF2B5EF4-FFF2-40B4-BE49-F238E27FC236}">
                        <a16:creationId xmlns:a16="http://schemas.microsoft.com/office/drawing/2014/main" id="{13ED835E-5562-96D1-1E10-EC119B47B8C0}"/>
                      </a:ext>
                    </a:extLst>
                  </p:cNvPr>
                  <p:cNvSpPr/>
                  <p:nvPr/>
                </p:nvSpPr>
                <p:spPr>
                  <a:xfrm>
                    <a:off x="3377032" y="2000383"/>
                    <a:ext cx="140175" cy="140175"/>
                  </a:xfrm>
                  <a:custGeom>
                    <a:avLst/>
                    <a:gdLst>
                      <a:gd name="connsiteX0" fmla="*/ 140176 w 140175"/>
                      <a:gd name="connsiteY0" fmla="*/ 140176 h 140175"/>
                      <a:gd name="connsiteX1" fmla="*/ 56070 w 140175"/>
                      <a:gd name="connsiteY1" fmla="*/ 140176 h 140175"/>
                      <a:gd name="connsiteX2" fmla="*/ 0 w 140175"/>
                      <a:gd name="connsiteY2" fmla="*/ 84105 h 140175"/>
                      <a:gd name="connsiteX3" fmla="*/ 0 w 140175"/>
                      <a:gd name="connsiteY3" fmla="*/ 0 h 140175"/>
                      <a:gd name="connsiteX4" fmla="*/ 140176 w 140175"/>
                      <a:gd name="connsiteY4" fmla="*/ 140176 h 140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0175" h="140175">
                        <a:moveTo>
                          <a:pt x="140176" y="140176"/>
                        </a:moveTo>
                        <a:lnTo>
                          <a:pt x="56070" y="140176"/>
                        </a:lnTo>
                        <a:cubicBezTo>
                          <a:pt x="56067" y="109210"/>
                          <a:pt x="30965" y="84109"/>
                          <a:pt x="0" y="84105"/>
                        </a:cubicBezTo>
                        <a:lnTo>
                          <a:pt x="0" y="0"/>
                        </a:lnTo>
                        <a:cubicBezTo>
                          <a:pt x="77416" y="4"/>
                          <a:pt x="140172" y="62760"/>
                          <a:pt x="140176" y="140176"/>
                        </a:cubicBezTo>
                        <a:close/>
                      </a:path>
                    </a:pathLst>
                  </a:custGeom>
                  <a:solidFill>
                    <a:srgbClr val="FF9B1E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73" name="Forme libre : forme 172">
                    <a:extLst>
                      <a:ext uri="{FF2B5EF4-FFF2-40B4-BE49-F238E27FC236}">
                        <a16:creationId xmlns:a16="http://schemas.microsoft.com/office/drawing/2014/main" id="{B662D125-42EC-0FC3-525E-D4E8F43F0B38}"/>
                      </a:ext>
                    </a:extLst>
                  </p:cNvPr>
                  <p:cNvSpPr/>
                  <p:nvPr/>
                </p:nvSpPr>
                <p:spPr>
                  <a:xfrm>
                    <a:off x="3416684" y="2140559"/>
                    <a:ext cx="100523" cy="99121"/>
                  </a:xfrm>
                  <a:custGeom>
                    <a:avLst/>
                    <a:gdLst>
                      <a:gd name="connsiteX0" fmla="*/ 100523 w 100523"/>
                      <a:gd name="connsiteY0" fmla="*/ 0 h 99121"/>
                      <a:gd name="connsiteX1" fmla="*/ 59470 w 100523"/>
                      <a:gd name="connsiteY1" fmla="*/ 99122 h 99121"/>
                      <a:gd name="connsiteX2" fmla="*/ 0 w 100523"/>
                      <a:gd name="connsiteY2" fmla="*/ 39652 h 99121"/>
                      <a:gd name="connsiteX3" fmla="*/ 16418 w 100523"/>
                      <a:gd name="connsiteY3" fmla="*/ 0 h 991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0523" h="99121">
                        <a:moveTo>
                          <a:pt x="100523" y="0"/>
                        </a:moveTo>
                        <a:cubicBezTo>
                          <a:pt x="100565" y="37185"/>
                          <a:pt x="85791" y="72856"/>
                          <a:pt x="59470" y="99122"/>
                        </a:cubicBezTo>
                        <a:lnTo>
                          <a:pt x="0" y="39652"/>
                        </a:lnTo>
                        <a:cubicBezTo>
                          <a:pt x="10531" y="29146"/>
                          <a:pt x="16439" y="14876"/>
                          <a:pt x="16418" y="0"/>
                        </a:cubicBezTo>
                        <a:close/>
                      </a:path>
                    </a:pathLst>
                  </a:custGeom>
                  <a:solidFill>
                    <a:srgbClr val="FFB65F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</p:grpSp>
            <p:sp>
              <p:nvSpPr>
                <p:cNvPr id="161" name="ZoneTexte 160">
                  <a:extLst>
                    <a:ext uri="{FF2B5EF4-FFF2-40B4-BE49-F238E27FC236}">
                      <a16:creationId xmlns:a16="http://schemas.microsoft.com/office/drawing/2014/main" id="{1058FED5-7F9E-8D8E-0C74-4DE60813E104}"/>
                    </a:ext>
                  </a:extLst>
                </p:cNvPr>
                <p:cNvSpPr txBox="1"/>
                <p:nvPr/>
              </p:nvSpPr>
              <p:spPr>
                <a:xfrm>
                  <a:off x="7690280" y="3503490"/>
                  <a:ext cx="229550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9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8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7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6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5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4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3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2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" sz="600" b="1">
                      <a:solidFill>
                        <a:srgbClr val="582974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€</a:t>
                  </a:r>
                </a:p>
              </p:txBody>
            </p:sp>
          </p:grpSp>
        </p:grpSp>
      </p:grpSp>
      <p:sp>
        <p:nvSpPr>
          <p:cNvPr id="174" name="Oval 99">
            <a:extLst>
              <a:ext uri="{FF2B5EF4-FFF2-40B4-BE49-F238E27FC236}">
                <a16:creationId xmlns:a16="http://schemas.microsoft.com/office/drawing/2014/main" id="{9F8375F8-3C7B-74B6-5256-EF8A52A6B7F8}"/>
              </a:ext>
            </a:extLst>
          </p:cNvPr>
          <p:cNvSpPr/>
          <p:nvPr/>
        </p:nvSpPr>
        <p:spPr>
          <a:xfrm>
            <a:off x="8252532" y="2088042"/>
            <a:ext cx="287719" cy="287719"/>
          </a:xfrm>
          <a:prstGeom prst="ellipse">
            <a:avLst/>
          </a:prstGeom>
          <a:solidFill>
            <a:srgbClr val="229BB8"/>
          </a:solidFill>
          <a:ln w="254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75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</a:t>
            </a:r>
          </a:p>
        </p:txBody>
      </p:sp>
      <p:sp>
        <p:nvSpPr>
          <p:cNvPr id="175" name="ZoneTexte 174">
            <a:extLst>
              <a:ext uri="{FF2B5EF4-FFF2-40B4-BE49-F238E27FC236}">
                <a16:creationId xmlns:a16="http://schemas.microsoft.com/office/drawing/2014/main" id="{544967A1-5D1F-33CF-A9F2-50E5D7AC8F1A}"/>
              </a:ext>
            </a:extLst>
          </p:cNvPr>
          <p:cNvSpPr txBox="1"/>
          <p:nvPr/>
        </p:nvSpPr>
        <p:spPr>
          <a:xfrm>
            <a:off x="7661169" y="3291831"/>
            <a:ext cx="1371600" cy="12234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43" indent="-285743" algn="ctr">
              <a:buFont typeface="Wingdings" panose="05000000000000000000" pitchFamily="2" charset="2"/>
              <a:buChar char="ü"/>
            </a:pPr>
            <a:r>
              <a:rPr lang="en" sz="1050"/>
              <a:t>Carry out communication and publication actions relating to the use of Open Source solutions.</a:t>
            </a:r>
          </a:p>
        </p:txBody>
      </p:sp>
      <p:grpSp>
        <p:nvGrpSpPr>
          <p:cNvPr id="176" name="Groupe 175">
            <a:extLst>
              <a:ext uri="{FF2B5EF4-FFF2-40B4-BE49-F238E27FC236}">
                <a16:creationId xmlns:a16="http://schemas.microsoft.com/office/drawing/2014/main" id="{D6234E9E-5088-436A-22A2-7F3DD678CC0E}"/>
              </a:ext>
            </a:extLst>
          </p:cNvPr>
          <p:cNvGrpSpPr/>
          <p:nvPr/>
        </p:nvGrpSpPr>
        <p:grpSpPr>
          <a:xfrm>
            <a:off x="6658023" y="2494281"/>
            <a:ext cx="799325" cy="800020"/>
            <a:chOff x="7515679" y="2811582"/>
            <a:chExt cx="799325" cy="800020"/>
          </a:xfrm>
        </p:grpSpPr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B2AE460B-E444-2AD4-640C-AB54F0E2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382" y="2811582"/>
              <a:ext cx="400706" cy="210092"/>
            </a:xfrm>
            <a:custGeom>
              <a:avLst/>
              <a:gdLst>
                <a:gd name="T0" fmla="*/ 44 w 187"/>
                <a:gd name="T1" fmla="*/ 54 h 98"/>
                <a:gd name="T2" fmla="*/ 16 w 187"/>
                <a:gd name="T3" fmla="*/ 57 h 98"/>
                <a:gd name="T4" fmla="*/ 0 w 187"/>
                <a:gd name="T5" fmla="*/ 5 h 98"/>
                <a:gd name="T6" fmla="*/ 44 w 187"/>
                <a:gd name="T7" fmla="*/ 0 h 98"/>
                <a:gd name="T8" fmla="*/ 187 w 187"/>
                <a:gd name="T9" fmla="*/ 66 h 98"/>
                <a:gd name="T10" fmla="*/ 142 w 187"/>
                <a:gd name="T11" fmla="*/ 98 h 98"/>
                <a:gd name="T12" fmla="*/ 44 w 187"/>
                <a:gd name="T13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98">
                  <a:moveTo>
                    <a:pt x="44" y="54"/>
                  </a:moveTo>
                  <a:cubicBezTo>
                    <a:pt x="35" y="54"/>
                    <a:pt x="25" y="55"/>
                    <a:pt x="16" y="5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" y="2"/>
                    <a:pt x="29" y="0"/>
                    <a:pt x="44" y="0"/>
                  </a:cubicBezTo>
                  <a:cubicBezTo>
                    <a:pt x="101" y="0"/>
                    <a:pt x="153" y="25"/>
                    <a:pt x="187" y="66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18" y="71"/>
                    <a:pt x="83" y="54"/>
                    <a:pt x="44" y="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A8579600-DC14-1B44-71AF-664BA2EB4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679" y="2839408"/>
              <a:ext cx="285225" cy="342965"/>
            </a:xfrm>
            <a:custGeom>
              <a:avLst/>
              <a:gdLst>
                <a:gd name="T0" fmla="*/ 55 w 133"/>
                <a:gd name="T1" fmla="*/ 160 h 160"/>
                <a:gd name="T2" fmla="*/ 0 w 133"/>
                <a:gd name="T3" fmla="*/ 160 h 160"/>
                <a:gd name="T4" fmla="*/ 116 w 133"/>
                <a:gd name="T5" fmla="*/ 0 h 160"/>
                <a:gd name="T6" fmla="*/ 133 w 133"/>
                <a:gd name="T7" fmla="*/ 53 h 160"/>
                <a:gd name="T8" fmla="*/ 55 w 133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60">
                  <a:moveTo>
                    <a:pt x="55" y="16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5" y="87"/>
                    <a:pt x="52" y="27"/>
                    <a:pt x="116" y="0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91" y="71"/>
                    <a:pt x="60" y="112"/>
                    <a:pt x="55" y="16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179" name="Groupe 178">
              <a:extLst>
                <a:ext uri="{FF2B5EF4-FFF2-40B4-BE49-F238E27FC236}">
                  <a16:creationId xmlns:a16="http://schemas.microsoft.com/office/drawing/2014/main" id="{F61D0328-361E-E487-302F-343B8FB716EF}"/>
                </a:ext>
              </a:extLst>
            </p:cNvPr>
            <p:cNvGrpSpPr/>
            <p:nvPr/>
          </p:nvGrpSpPr>
          <p:grpSpPr>
            <a:xfrm>
              <a:off x="7515679" y="3000108"/>
              <a:ext cx="799325" cy="611494"/>
              <a:chOff x="7515679" y="3000108"/>
              <a:chExt cx="799325" cy="611494"/>
            </a:xfrm>
          </p:grpSpPr>
          <p:sp>
            <p:nvSpPr>
              <p:cNvPr id="180" name="Freeform 5">
                <a:extLst>
                  <a:ext uri="{FF2B5EF4-FFF2-40B4-BE49-F238E27FC236}">
                    <a16:creationId xmlns:a16="http://schemas.microsoft.com/office/drawing/2014/main" id="{8BBF6F38-E137-1742-ECF4-096F67CD7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8478" y="3000108"/>
                <a:ext cx="156526" cy="422967"/>
              </a:xfrm>
              <a:custGeom>
                <a:avLst/>
                <a:gdLst>
                  <a:gd name="T0" fmla="*/ 18 w 73"/>
                  <a:gd name="T1" fmla="*/ 98 h 197"/>
                  <a:gd name="T2" fmla="*/ 0 w 73"/>
                  <a:gd name="T3" fmla="*/ 32 h 197"/>
                  <a:gd name="T4" fmla="*/ 45 w 73"/>
                  <a:gd name="T5" fmla="*/ 0 h 197"/>
                  <a:gd name="T6" fmla="*/ 73 w 73"/>
                  <a:gd name="T7" fmla="*/ 98 h 197"/>
                  <a:gd name="T8" fmla="*/ 45 w 73"/>
                  <a:gd name="T9" fmla="*/ 197 h 197"/>
                  <a:gd name="T10" fmla="*/ 0 w 73"/>
                  <a:gd name="T11" fmla="*/ 164 h 197"/>
                  <a:gd name="T12" fmla="*/ 18 w 73"/>
                  <a:gd name="T13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97">
                    <a:moveTo>
                      <a:pt x="18" y="98"/>
                    </a:moveTo>
                    <a:cubicBezTo>
                      <a:pt x="18" y="74"/>
                      <a:pt x="12" y="51"/>
                      <a:pt x="0" y="32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62" y="28"/>
                      <a:pt x="73" y="62"/>
                      <a:pt x="73" y="98"/>
                    </a:cubicBezTo>
                    <a:cubicBezTo>
                      <a:pt x="73" y="134"/>
                      <a:pt x="62" y="168"/>
                      <a:pt x="45" y="197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12" y="145"/>
                      <a:pt x="18" y="122"/>
                      <a:pt x="18" y="9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81" name="Freeform 6">
                <a:extLst>
                  <a:ext uri="{FF2B5EF4-FFF2-40B4-BE49-F238E27FC236}">
                    <a16:creationId xmlns:a16="http://schemas.microsoft.com/office/drawing/2014/main" id="{97986D76-27A8-B346-E6F8-6D104967A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0382" y="3399423"/>
                <a:ext cx="400706" cy="212179"/>
              </a:xfrm>
              <a:custGeom>
                <a:avLst/>
                <a:gdLst>
                  <a:gd name="T0" fmla="*/ 44 w 187"/>
                  <a:gd name="T1" fmla="*/ 44 h 99"/>
                  <a:gd name="T2" fmla="*/ 142 w 187"/>
                  <a:gd name="T3" fmla="*/ 0 h 99"/>
                  <a:gd name="T4" fmla="*/ 187 w 187"/>
                  <a:gd name="T5" fmla="*/ 32 h 99"/>
                  <a:gd name="T6" fmla="*/ 44 w 187"/>
                  <a:gd name="T7" fmla="*/ 99 h 99"/>
                  <a:gd name="T8" fmla="*/ 0 w 187"/>
                  <a:gd name="T9" fmla="*/ 93 h 99"/>
                  <a:gd name="T10" fmla="*/ 16 w 187"/>
                  <a:gd name="T11" fmla="*/ 41 h 99"/>
                  <a:gd name="T12" fmla="*/ 44 w 187"/>
                  <a:gd name="T13" fmla="*/ 4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99">
                    <a:moveTo>
                      <a:pt x="44" y="44"/>
                    </a:moveTo>
                    <a:cubicBezTo>
                      <a:pt x="83" y="44"/>
                      <a:pt x="118" y="27"/>
                      <a:pt x="142" y="0"/>
                    </a:cubicBezTo>
                    <a:cubicBezTo>
                      <a:pt x="187" y="32"/>
                      <a:pt x="187" y="32"/>
                      <a:pt x="187" y="32"/>
                    </a:cubicBezTo>
                    <a:cubicBezTo>
                      <a:pt x="153" y="73"/>
                      <a:pt x="101" y="99"/>
                      <a:pt x="44" y="99"/>
                    </a:cubicBezTo>
                    <a:cubicBezTo>
                      <a:pt x="29" y="99"/>
                      <a:pt x="14" y="97"/>
                      <a:pt x="0" y="93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25" y="43"/>
                      <a:pt x="35" y="44"/>
                      <a:pt x="44" y="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82" name="Freeform 7">
                <a:extLst>
                  <a:ext uri="{FF2B5EF4-FFF2-40B4-BE49-F238E27FC236}">
                    <a16:creationId xmlns:a16="http://schemas.microsoft.com/office/drawing/2014/main" id="{BCB1C857-157E-446A-9611-EF009852D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5679" y="3240810"/>
                <a:ext cx="285225" cy="340878"/>
              </a:xfrm>
              <a:custGeom>
                <a:avLst/>
                <a:gdLst>
                  <a:gd name="T0" fmla="*/ 133 w 133"/>
                  <a:gd name="T1" fmla="*/ 107 h 159"/>
                  <a:gd name="T2" fmla="*/ 116 w 133"/>
                  <a:gd name="T3" fmla="*/ 159 h 159"/>
                  <a:gd name="T4" fmla="*/ 0 w 133"/>
                  <a:gd name="T5" fmla="*/ 0 h 159"/>
                  <a:gd name="T6" fmla="*/ 55 w 133"/>
                  <a:gd name="T7" fmla="*/ 0 h 159"/>
                  <a:gd name="T8" fmla="*/ 133 w 133"/>
                  <a:gd name="T9" fmla="*/ 10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59">
                    <a:moveTo>
                      <a:pt x="133" y="107"/>
                    </a:moveTo>
                    <a:cubicBezTo>
                      <a:pt x="116" y="159"/>
                      <a:pt x="116" y="159"/>
                      <a:pt x="116" y="159"/>
                    </a:cubicBezTo>
                    <a:cubicBezTo>
                      <a:pt x="52" y="133"/>
                      <a:pt x="5" y="72"/>
                      <a:pt x="0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60" y="48"/>
                      <a:pt x="91" y="88"/>
                      <a:pt x="133" y="107"/>
                    </a:cubicBezTo>
                    <a:close/>
                  </a:path>
                </a:pathLst>
              </a:custGeom>
              <a:solidFill>
                <a:srgbClr val="5829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>
                  <a:solidFill>
                    <a:prstClr val="black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183" name="Groupe 182">
                <a:extLst>
                  <a:ext uri="{FF2B5EF4-FFF2-40B4-BE49-F238E27FC236}">
                    <a16:creationId xmlns:a16="http://schemas.microsoft.com/office/drawing/2014/main" id="{1767421C-FA7A-1068-A28D-1D89433A15A8}"/>
                  </a:ext>
                </a:extLst>
              </p:cNvPr>
              <p:cNvGrpSpPr/>
              <p:nvPr/>
            </p:nvGrpSpPr>
            <p:grpSpPr>
              <a:xfrm>
                <a:off x="7732695" y="3012889"/>
                <a:ext cx="373769" cy="367434"/>
                <a:chOff x="7648735" y="3371441"/>
                <a:chExt cx="373769" cy="367434"/>
              </a:xfrm>
            </p:grpSpPr>
            <p:grpSp>
              <p:nvGrpSpPr>
                <p:cNvPr id="184" name="Graphique 149">
                  <a:extLst>
                    <a:ext uri="{FF2B5EF4-FFF2-40B4-BE49-F238E27FC236}">
                      <a16:creationId xmlns:a16="http://schemas.microsoft.com/office/drawing/2014/main" id="{00F439F4-D734-3884-EA03-B915C6274508}"/>
                    </a:ext>
                  </a:extLst>
                </p:cNvPr>
                <p:cNvGrpSpPr/>
                <p:nvPr/>
              </p:nvGrpSpPr>
              <p:grpSpPr>
                <a:xfrm>
                  <a:off x="7648735" y="3371441"/>
                  <a:ext cx="373769" cy="367434"/>
                  <a:chOff x="2704189" y="2000383"/>
                  <a:chExt cx="827036" cy="813018"/>
                </a:xfrm>
              </p:grpSpPr>
              <p:sp>
                <p:nvSpPr>
                  <p:cNvPr id="186" name="Forme libre : forme 185">
                    <a:extLst>
                      <a:ext uri="{FF2B5EF4-FFF2-40B4-BE49-F238E27FC236}">
                        <a16:creationId xmlns:a16="http://schemas.microsoft.com/office/drawing/2014/main" id="{9167D147-A456-59E5-3CD1-4CCABA5DCAB9}"/>
                      </a:ext>
                    </a:extLst>
                  </p:cNvPr>
                  <p:cNvSpPr/>
                  <p:nvPr/>
                </p:nvSpPr>
                <p:spPr>
                  <a:xfrm>
                    <a:off x="3236857" y="2462963"/>
                    <a:ext cx="84105" cy="154193"/>
                  </a:xfrm>
                  <a:custGeom>
                    <a:avLst/>
                    <a:gdLst>
                      <a:gd name="connsiteX0" fmla="*/ 0 w 84105"/>
                      <a:gd name="connsiteY0" fmla="*/ 0 h 154193"/>
                      <a:gd name="connsiteX1" fmla="*/ 84105 w 84105"/>
                      <a:gd name="connsiteY1" fmla="*/ 0 h 154193"/>
                      <a:gd name="connsiteX2" fmla="*/ 84105 w 84105"/>
                      <a:gd name="connsiteY2" fmla="*/ 154193 h 154193"/>
                      <a:gd name="connsiteX3" fmla="*/ 0 w 84105"/>
                      <a:gd name="connsiteY3" fmla="*/ 154193 h 154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154193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154193"/>
                        </a:lnTo>
                        <a:lnTo>
                          <a:pt x="0" y="154193"/>
                        </a:lnTo>
                        <a:close/>
                      </a:path>
                    </a:pathLst>
                  </a:custGeom>
                  <a:solidFill>
                    <a:srgbClr val="582974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87" name="Forme libre : forme 186">
                    <a:extLst>
                      <a:ext uri="{FF2B5EF4-FFF2-40B4-BE49-F238E27FC236}">
                        <a16:creationId xmlns:a16="http://schemas.microsoft.com/office/drawing/2014/main" id="{6964F1AD-313C-3B6E-E243-73A23EA2A1D9}"/>
                      </a:ext>
                    </a:extLst>
                  </p:cNvPr>
                  <p:cNvSpPr/>
                  <p:nvPr/>
                </p:nvSpPr>
                <p:spPr>
                  <a:xfrm>
                    <a:off x="3320962" y="2406893"/>
                    <a:ext cx="84105" cy="210263"/>
                  </a:xfrm>
                  <a:custGeom>
                    <a:avLst/>
                    <a:gdLst>
                      <a:gd name="connsiteX0" fmla="*/ 0 w 84105"/>
                      <a:gd name="connsiteY0" fmla="*/ 0 h 210263"/>
                      <a:gd name="connsiteX1" fmla="*/ 84105 w 84105"/>
                      <a:gd name="connsiteY1" fmla="*/ 0 h 210263"/>
                      <a:gd name="connsiteX2" fmla="*/ 84105 w 84105"/>
                      <a:gd name="connsiteY2" fmla="*/ 210263 h 210263"/>
                      <a:gd name="connsiteX3" fmla="*/ 0 w 84105"/>
                      <a:gd name="connsiteY3" fmla="*/ 210263 h 210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210263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210263"/>
                        </a:lnTo>
                        <a:lnTo>
                          <a:pt x="0" y="210263"/>
                        </a:lnTo>
                        <a:close/>
                      </a:path>
                    </a:pathLst>
                  </a:custGeom>
                  <a:solidFill>
                    <a:srgbClr val="9258A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88" name="Forme libre : forme 187">
                    <a:extLst>
                      <a:ext uri="{FF2B5EF4-FFF2-40B4-BE49-F238E27FC236}">
                        <a16:creationId xmlns:a16="http://schemas.microsoft.com/office/drawing/2014/main" id="{986B4139-D4C4-5AEF-2908-D8F0390438F2}"/>
                      </a:ext>
                    </a:extLst>
                  </p:cNvPr>
                  <p:cNvSpPr/>
                  <p:nvPr/>
                </p:nvSpPr>
                <p:spPr>
                  <a:xfrm>
                    <a:off x="3405067" y="2336805"/>
                    <a:ext cx="84105" cy="280351"/>
                  </a:xfrm>
                  <a:custGeom>
                    <a:avLst/>
                    <a:gdLst>
                      <a:gd name="connsiteX0" fmla="*/ 0 w 84105"/>
                      <a:gd name="connsiteY0" fmla="*/ 0 h 280351"/>
                      <a:gd name="connsiteX1" fmla="*/ 84105 w 84105"/>
                      <a:gd name="connsiteY1" fmla="*/ 0 h 280351"/>
                      <a:gd name="connsiteX2" fmla="*/ 84105 w 84105"/>
                      <a:gd name="connsiteY2" fmla="*/ 280351 h 280351"/>
                      <a:gd name="connsiteX3" fmla="*/ 0 w 84105"/>
                      <a:gd name="connsiteY3" fmla="*/ 280351 h 280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4105" h="280351">
                        <a:moveTo>
                          <a:pt x="0" y="0"/>
                        </a:moveTo>
                        <a:lnTo>
                          <a:pt x="84105" y="0"/>
                        </a:lnTo>
                        <a:lnTo>
                          <a:pt x="84105" y="280351"/>
                        </a:lnTo>
                        <a:lnTo>
                          <a:pt x="0" y="280351"/>
                        </a:lnTo>
                        <a:close/>
                      </a:path>
                    </a:pathLst>
                  </a:custGeom>
                  <a:solidFill>
                    <a:srgbClr val="AE80BA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89" name="Forme libre : forme 188">
                    <a:extLst>
                      <a:ext uri="{FF2B5EF4-FFF2-40B4-BE49-F238E27FC236}">
                        <a16:creationId xmlns:a16="http://schemas.microsoft.com/office/drawing/2014/main" id="{353EF560-F9D1-2ADD-A6AF-C7858E2A9203}"/>
                      </a:ext>
                    </a:extLst>
                  </p:cNvPr>
                  <p:cNvSpPr/>
                  <p:nvPr/>
                </p:nvSpPr>
                <p:spPr>
                  <a:xfrm>
                    <a:off x="3114403" y="2490982"/>
                    <a:ext cx="416822" cy="140191"/>
                  </a:xfrm>
                  <a:custGeom>
                    <a:avLst/>
                    <a:gdLst>
                      <a:gd name="connsiteX0" fmla="*/ 416823 w 416822"/>
                      <a:gd name="connsiteY0" fmla="*/ 140191 h 140191"/>
                      <a:gd name="connsiteX1" fmla="*/ 108436 w 416822"/>
                      <a:gd name="connsiteY1" fmla="*/ 140191 h 140191"/>
                      <a:gd name="connsiteX2" fmla="*/ 97667 w 416822"/>
                      <a:gd name="connsiteY2" fmla="*/ 135147 h 140191"/>
                      <a:gd name="connsiteX3" fmla="*/ 0 w 416822"/>
                      <a:gd name="connsiteY3" fmla="*/ 17946 h 140191"/>
                      <a:gd name="connsiteX4" fmla="*/ 21538 w 416822"/>
                      <a:gd name="connsiteY4" fmla="*/ 0 h 140191"/>
                      <a:gd name="connsiteX5" fmla="*/ 115002 w 416822"/>
                      <a:gd name="connsiteY5" fmla="*/ 112156 h 140191"/>
                      <a:gd name="connsiteX6" fmla="*/ 416823 w 416822"/>
                      <a:gd name="connsiteY6" fmla="*/ 112156 h 140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16822" h="140191">
                        <a:moveTo>
                          <a:pt x="416823" y="140191"/>
                        </a:moveTo>
                        <a:lnTo>
                          <a:pt x="108436" y="140191"/>
                        </a:lnTo>
                        <a:cubicBezTo>
                          <a:pt x="104277" y="140191"/>
                          <a:pt x="100331" y="138343"/>
                          <a:pt x="97667" y="135147"/>
                        </a:cubicBezTo>
                        <a:lnTo>
                          <a:pt x="0" y="17946"/>
                        </a:lnTo>
                        <a:lnTo>
                          <a:pt x="21538" y="0"/>
                        </a:lnTo>
                        <a:lnTo>
                          <a:pt x="115002" y="112156"/>
                        </a:lnTo>
                        <a:lnTo>
                          <a:pt x="416823" y="112156"/>
                        </a:lnTo>
                        <a:close/>
                      </a:path>
                    </a:pathLst>
                  </a:custGeom>
                  <a:solidFill>
                    <a:srgbClr val="AFB9D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0" name="Forme libre : forme 189">
                    <a:extLst>
                      <a:ext uri="{FF2B5EF4-FFF2-40B4-BE49-F238E27FC236}">
                        <a16:creationId xmlns:a16="http://schemas.microsoft.com/office/drawing/2014/main" id="{42BD6CB1-B751-B719-53D0-0FDFEE012765}"/>
                      </a:ext>
                    </a:extLst>
                  </p:cNvPr>
                  <p:cNvSpPr/>
                  <p:nvPr/>
                </p:nvSpPr>
                <p:spPr>
                  <a:xfrm>
                    <a:off x="3108307" y="2308770"/>
                    <a:ext cx="198637" cy="98369"/>
                  </a:xfrm>
                  <a:custGeom>
                    <a:avLst/>
                    <a:gdLst>
                      <a:gd name="connsiteX0" fmla="*/ 17513 w 198637"/>
                      <a:gd name="connsiteY0" fmla="*/ 98370 h 98369"/>
                      <a:gd name="connsiteX1" fmla="*/ 0 w 198637"/>
                      <a:gd name="connsiteY1" fmla="*/ 76476 h 98369"/>
                      <a:gd name="connsiteX2" fmla="*/ 91757 w 198637"/>
                      <a:gd name="connsiteY2" fmla="*/ 3072 h 98369"/>
                      <a:gd name="connsiteX3" fmla="*/ 100515 w 198637"/>
                      <a:gd name="connsiteY3" fmla="*/ 0 h 98369"/>
                      <a:gd name="connsiteX4" fmla="*/ 198638 w 198637"/>
                      <a:gd name="connsiteY4" fmla="*/ 0 h 98369"/>
                      <a:gd name="connsiteX5" fmla="*/ 198638 w 198637"/>
                      <a:gd name="connsiteY5" fmla="*/ 28035 h 98369"/>
                      <a:gd name="connsiteX6" fmla="*/ 105431 w 198637"/>
                      <a:gd name="connsiteY6" fmla="*/ 28035 h 983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98637" h="98369">
                        <a:moveTo>
                          <a:pt x="17513" y="98370"/>
                        </a:moveTo>
                        <a:lnTo>
                          <a:pt x="0" y="76476"/>
                        </a:lnTo>
                        <a:lnTo>
                          <a:pt x="91757" y="3072"/>
                        </a:lnTo>
                        <a:cubicBezTo>
                          <a:pt x="94244" y="1083"/>
                          <a:pt x="97331" y="0"/>
                          <a:pt x="100515" y="0"/>
                        </a:cubicBezTo>
                        <a:lnTo>
                          <a:pt x="198638" y="0"/>
                        </a:lnTo>
                        <a:lnTo>
                          <a:pt x="198638" y="28035"/>
                        </a:lnTo>
                        <a:lnTo>
                          <a:pt x="105431" y="28035"/>
                        </a:lnTo>
                        <a:close/>
                      </a:path>
                    </a:pathLst>
                  </a:custGeom>
                  <a:solidFill>
                    <a:srgbClr val="AFB9D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1" name="Forme libre : forme 190">
                    <a:extLst>
                      <a:ext uri="{FF2B5EF4-FFF2-40B4-BE49-F238E27FC236}">
                        <a16:creationId xmlns:a16="http://schemas.microsoft.com/office/drawing/2014/main" id="{5D234335-DF7A-3A05-E53E-EB7573729419}"/>
                      </a:ext>
                    </a:extLst>
                  </p:cNvPr>
                  <p:cNvSpPr/>
                  <p:nvPr/>
                </p:nvSpPr>
                <p:spPr>
                  <a:xfrm>
                    <a:off x="2830347" y="2182612"/>
                    <a:ext cx="336421" cy="406509"/>
                  </a:xfrm>
                  <a:custGeom>
                    <a:avLst/>
                    <a:gdLst>
                      <a:gd name="connsiteX0" fmla="*/ 56070 w 336421"/>
                      <a:gd name="connsiteY0" fmla="*/ 406509 h 406509"/>
                      <a:gd name="connsiteX1" fmla="*/ 24129 w 336421"/>
                      <a:gd name="connsiteY1" fmla="*/ 358597 h 406509"/>
                      <a:gd name="connsiteX2" fmla="*/ 0 w 336421"/>
                      <a:gd name="connsiteY2" fmla="*/ 278904 h 406509"/>
                      <a:gd name="connsiteX3" fmla="*/ 36290 w 336421"/>
                      <a:gd name="connsiteY3" fmla="*/ 183455 h 406509"/>
                      <a:gd name="connsiteX4" fmla="*/ 112141 w 336421"/>
                      <a:gd name="connsiteY4" fmla="*/ 98123 h 406509"/>
                      <a:gd name="connsiteX5" fmla="*/ 96262 w 336421"/>
                      <a:gd name="connsiteY5" fmla="*/ 58427 h 406509"/>
                      <a:gd name="connsiteX6" fmla="*/ 104718 w 336421"/>
                      <a:gd name="connsiteY6" fmla="*/ 38692 h 406509"/>
                      <a:gd name="connsiteX7" fmla="*/ 115158 w 336421"/>
                      <a:gd name="connsiteY7" fmla="*/ 38385 h 406509"/>
                      <a:gd name="connsiteX8" fmla="*/ 132590 w 336421"/>
                      <a:gd name="connsiteY8" fmla="*/ 32405 h 406509"/>
                      <a:gd name="connsiteX9" fmla="*/ 146417 w 336421"/>
                      <a:gd name="connsiteY9" fmla="*/ 11663 h 406509"/>
                      <a:gd name="connsiteX10" fmla="*/ 168211 w 336421"/>
                      <a:gd name="connsiteY10" fmla="*/ 0 h 406509"/>
                      <a:gd name="connsiteX11" fmla="*/ 190005 w 336421"/>
                      <a:gd name="connsiteY11" fmla="*/ 11663 h 406509"/>
                      <a:gd name="connsiteX12" fmla="*/ 203831 w 336421"/>
                      <a:gd name="connsiteY12" fmla="*/ 32405 h 406509"/>
                      <a:gd name="connsiteX13" fmla="*/ 221264 w 336421"/>
                      <a:gd name="connsiteY13" fmla="*/ 38385 h 406509"/>
                      <a:gd name="connsiteX14" fmla="*/ 240466 w 336421"/>
                      <a:gd name="connsiteY14" fmla="*/ 47987 h 406509"/>
                      <a:gd name="connsiteX15" fmla="*/ 240159 w 336421"/>
                      <a:gd name="connsiteY15" fmla="*/ 58427 h 406509"/>
                      <a:gd name="connsiteX16" fmla="*/ 224281 w 336421"/>
                      <a:gd name="connsiteY16" fmla="*/ 98123 h 406509"/>
                      <a:gd name="connsiteX17" fmla="*/ 300132 w 336421"/>
                      <a:gd name="connsiteY17" fmla="*/ 183455 h 406509"/>
                      <a:gd name="connsiteX18" fmla="*/ 336422 w 336421"/>
                      <a:gd name="connsiteY18" fmla="*/ 278904 h 406509"/>
                      <a:gd name="connsiteX19" fmla="*/ 312292 w 336421"/>
                      <a:gd name="connsiteY19" fmla="*/ 358597 h 406509"/>
                      <a:gd name="connsiteX20" fmla="*/ 280351 w 336421"/>
                      <a:gd name="connsiteY20" fmla="*/ 406509 h 4065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336421" h="406509">
                        <a:moveTo>
                          <a:pt x="56070" y="406509"/>
                        </a:moveTo>
                        <a:lnTo>
                          <a:pt x="24129" y="358597"/>
                        </a:lnTo>
                        <a:cubicBezTo>
                          <a:pt x="8397" y="334997"/>
                          <a:pt x="0" y="307268"/>
                          <a:pt x="0" y="278904"/>
                        </a:cubicBezTo>
                        <a:cubicBezTo>
                          <a:pt x="0" y="243718"/>
                          <a:pt x="12914" y="209754"/>
                          <a:pt x="36290" y="183455"/>
                        </a:cubicBezTo>
                        <a:lnTo>
                          <a:pt x="112141" y="98123"/>
                        </a:lnTo>
                        <a:lnTo>
                          <a:pt x="96262" y="58427"/>
                        </a:lnTo>
                        <a:cubicBezTo>
                          <a:pt x="93148" y="50642"/>
                          <a:pt x="96935" y="41807"/>
                          <a:pt x="104718" y="38692"/>
                        </a:cubicBezTo>
                        <a:cubicBezTo>
                          <a:pt x="108053" y="37359"/>
                          <a:pt x="111752" y="37250"/>
                          <a:pt x="115158" y="38385"/>
                        </a:cubicBezTo>
                        <a:cubicBezTo>
                          <a:pt x="121653" y="40551"/>
                          <a:pt x="128792" y="38101"/>
                          <a:pt x="132590" y="32405"/>
                        </a:cubicBezTo>
                        <a:lnTo>
                          <a:pt x="146417" y="11663"/>
                        </a:lnTo>
                        <a:cubicBezTo>
                          <a:pt x="151276" y="4377"/>
                          <a:pt x="159453" y="0"/>
                          <a:pt x="168211" y="0"/>
                        </a:cubicBezTo>
                        <a:cubicBezTo>
                          <a:pt x="176968" y="0"/>
                          <a:pt x="185146" y="4377"/>
                          <a:pt x="190005" y="11663"/>
                        </a:cubicBezTo>
                        <a:lnTo>
                          <a:pt x="203831" y="32405"/>
                        </a:lnTo>
                        <a:cubicBezTo>
                          <a:pt x="207628" y="38101"/>
                          <a:pt x="214768" y="40551"/>
                          <a:pt x="221264" y="38385"/>
                        </a:cubicBezTo>
                        <a:cubicBezTo>
                          <a:pt x="229217" y="35734"/>
                          <a:pt x="237815" y="40032"/>
                          <a:pt x="240466" y="47987"/>
                        </a:cubicBezTo>
                        <a:cubicBezTo>
                          <a:pt x="241601" y="51394"/>
                          <a:pt x="241493" y="55093"/>
                          <a:pt x="240159" y="58427"/>
                        </a:cubicBezTo>
                        <a:lnTo>
                          <a:pt x="224281" y="98123"/>
                        </a:lnTo>
                        <a:lnTo>
                          <a:pt x="300132" y="183455"/>
                        </a:lnTo>
                        <a:cubicBezTo>
                          <a:pt x="323508" y="209754"/>
                          <a:pt x="336422" y="243718"/>
                          <a:pt x="336422" y="278904"/>
                        </a:cubicBezTo>
                        <a:cubicBezTo>
                          <a:pt x="336422" y="307268"/>
                          <a:pt x="328025" y="334997"/>
                          <a:pt x="312292" y="358597"/>
                        </a:cubicBezTo>
                        <a:lnTo>
                          <a:pt x="280351" y="406509"/>
                        </a:lnTo>
                        <a:close/>
                      </a:path>
                    </a:pathLst>
                  </a:custGeom>
                  <a:solidFill>
                    <a:srgbClr val="FF9B1E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2" name="Forme libre : forme 191">
                    <a:extLst>
                      <a:ext uri="{FF2B5EF4-FFF2-40B4-BE49-F238E27FC236}">
                        <a16:creationId xmlns:a16="http://schemas.microsoft.com/office/drawing/2014/main" id="{C9E38EE0-BAC4-811F-5C7E-148E0FBD0CC0}"/>
                      </a:ext>
                    </a:extLst>
                  </p:cNvPr>
                  <p:cNvSpPr/>
                  <p:nvPr/>
                </p:nvSpPr>
                <p:spPr>
                  <a:xfrm>
                    <a:off x="2704189" y="2491003"/>
                    <a:ext cx="434544" cy="322398"/>
                  </a:xfrm>
                  <a:custGeom>
                    <a:avLst/>
                    <a:gdLst>
                      <a:gd name="connsiteX0" fmla="*/ 434544 w 434544"/>
                      <a:gd name="connsiteY0" fmla="*/ 122228 h 322398"/>
                      <a:gd name="connsiteX1" fmla="*/ 417355 w 434544"/>
                      <a:gd name="connsiteY1" fmla="*/ 145322 h 322398"/>
                      <a:gd name="connsiteX2" fmla="*/ 294369 w 434544"/>
                      <a:gd name="connsiteY2" fmla="*/ 182223 h 322398"/>
                      <a:gd name="connsiteX3" fmla="*/ 266334 w 434544"/>
                      <a:gd name="connsiteY3" fmla="*/ 238293 h 322398"/>
                      <a:gd name="connsiteX4" fmla="*/ 168211 w 434544"/>
                      <a:gd name="connsiteY4" fmla="*/ 280346 h 322398"/>
                      <a:gd name="connsiteX5" fmla="*/ 112141 w 434544"/>
                      <a:gd name="connsiteY5" fmla="*/ 322399 h 322398"/>
                      <a:gd name="connsiteX6" fmla="*/ 0 w 434544"/>
                      <a:gd name="connsiteY6" fmla="*/ 322399 h 322398"/>
                      <a:gd name="connsiteX7" fmla="*/ 0 w 434544"/>
                      <a:gd name="connsiteY7" fmla="*/ 140170 h 322398"/>
                      <a:gd name="connsiteX8" fmla="*/ 40003 w 434544"/>
                      <a:gd name="connsiteY8" fmla="*/ 109402 h 322398"/>
                      <a:gd name="connsiteX9" fmla="*/ 173765 w 434544"/>
                      <a:gd name="connsiteY9" fmla="*/ 6495 h 322398"/>
                      <a:gd name="connsiteX10" fmla="*/ 217787 w 434544"/>
                      <a:gd name="connsiteY10" fmla="*/ 12278 h 322398"/>
                      <a:gd name="connsiteX11" fmla="*/ 224281 w 434544"/>
                      <a:gd name="connsiteY11" fmla="*/ 31377 h 322398"/>
                      <a:gd name="connsiteX12" fmla="*/ 223072 w 434544"/>
                      <a:gd name="connsiteY12" fmla="*/ 41767 h 322398"/>
                      <a:gd name="connsiteX13" fmla="*/ 219515 w 434544"/>
                      <a:gd name="connsiteY13" fmla="*/ 51597 h 322398"/>
                      <a:gd name="connsiteX14" fmla="*/ 196246 w 434544"/>
                      <a:gd name="connsiteY14" fmla="*/ 98118 h 322398"/>
                      <a:gd name="connsiteX15" fmla="*/ 410434 w 434544"/>
                      <a:gd name="connsiteY15" fmla="*/ 98118 h 322398"/>
                      <a:gd name="connsiteX16" fmla="*/ 434544 w 434544"/>
                      <a:gd name="connsiteY16" fmla="*/ 122224 h 322398"/>
                      <a:gd name="connsiteX17" fmla="*/ 434544 w 434544"/>
                      <a:gd name="connsiteY17" fmla="*/ 122228 h 3223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34544" h="322398">
                        <a:moveTo>
                          <a:pt x="434544" y="122228"/>
                        </a:moveTo>
                        <a:cubicBezTo>
                          <a:pt x="434555" y="132881"/>
                          <a:pt x="427564" y="142275"/>
                          <a:pt x="417355" y="145322"/>
                        </a:cubicBezTo>
                        <a:lnTo>
                          <a:pt x="294369" y="182223"/>
                        </a:lnTo>
                        <a:lnTo>
                          <a:pt x="266334" y="238293"/>
                        </a:lnTo>
                        <a:lnTo>
                          <a:pt x="168211" y="280346"/>
                        </a:lnTo>
                        <a:lnTo>
                          <a:pt x="112141" y="322399"/>
                        </a:lnTo>
                        <a:lnTo>
                          <a:pt x="0" y="322399"/>
                        </a:lnTo>
                        <a:lnTo>
                          <a:pt x="0" y="140170"/>
                        </a:lnTo>
                        <a:lnTo>
                          <a:pt x="40003" y="109402"/>
                        </a:lnTo>
                        <a:lnTo>
                          <a:pt x="173765" y="6495"/>
                        </a:lnTo>
                        <a:cubicBezTo>
                          <a:pt x="187518" y="-4065"/>
                          <a:pt x="207227" y="-1475"/>
                          <a:pt x="217787" y="12278"/>
                        </a:cubicBezTo>
                        <a:cubicBezTo>
                          <a:pt x="221994" y="17755"/>
                          <a:pt x="224276" y="24469"/>
                          <a:pt x="224281" y="31377"/>
                        </a:cubicBezTo>
                        <a:cubicBezTo>
                          <a:pt x="224283" y="34876"/>
                          <a:pt x="223878" y="38363"/>
                          <a:pt x="223072" y="41767"/>
                        </a:cubicBezTo>
                        <a:cubicBezTo>
                          <a:pt x="222282" y="45173"/>
                          <a:pt x="221087" y="48473"/>
                          <a:pt x="219515" y="51597"/>
                        </a:cubicBezTo>
                        <a:lnTo>
                          <a:pt x="196246" y="98118"/>
                        </a:lnTo>
                        <a:lnTo>
                          <a:pt x="410434" y="98118"/>
                        </a:lnTo>
                        <a:cubicBezTo>
                          <a:pt x="423749" y="98118"/>
                          <a:pt x="434544" y="108909"/>
                          <a:pt x="434544" y="122224"/>
                        </a:cubicBezTo>
                        <a:cubicBezTo>
                          <a:pt x="434544" y="122226"/>
                          <a:pt x="434544" y="122226"/>
                          <a:pt x="434544" y="122228"/>
                        </a:cubicBezTo>
                        <a:close/>
                      </a:path>
                    </a:pathLst>
                  </a:custGeom>
                  <a:solidFill>
                    <a:srgbClr val="FFCEB6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3" name="Forme libre : forme 192">
                    <a:extLst>
                      <a:ext uri="{FF2B5EF4-FFF2-40B4-BE49-F238E27FC236}">
                        <a16:creationId xmlns:a16="http://schemas.microsoft.com/office/drawing/2014/main" id="{E54C06FF-4043-F941-DA9B-95B2EEEC0C90}"/>
                      </a:ext>
                    </a:extLst>
                  </p:cNvPr>
                  <p:cNvSpPr/>
                  <p:nvPr/>
                </p:nvSpPr>
                <p:spPr>
                  <a:xfrm>
                    <a:off x="2704189" y="2600405"/>
                    <a:ext cx="168210" cy="212996"/>
                  </a:xfrm>
                  <a:custGeom>
                    <a:avLst/>
                    <a:gdLst>
                      <a:gd name="connsiteX0" fmla="*/ 168211 w 168210"/>
                      <a:gd name="connsiteY0" fmla="*/ 170944 h 212996"/>
                      <a:gd name="connsiteX1" fmla="*/ 112141 w 168210"/>
                      <a:gd name="connsiteY1" fmla="*/ 212997 h 212996"/>
                      <a:gd name="connsiteX2" fmla="*/ 0 w 168210"/>
                      <a:gd name="connsiteY2" fmla="*/ 212997 h 212996"/>
                      <a:gd name="connsiteX3" fmla="*/ 0 w 168210"/>
                      <a:gd name="connsiteY3" fmla="*/ 30769 h 212996"/>
                      <a:gd name="connsiteX4" fmla="*/ 40003 w 168210"/>
                      <a:gd name="connsiteY4" fmla="*/ 0 h 212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8210" h="212996">
                        <a:moveTo>
                          <a:pt x="168211" y="170944"/>
                        </a:moveTo>
                        <a:lnTo>
                          <a:pt x="112141" y="212997"/>
                        </a:lnTo>
                        <a:lnTo>
                          <a:pt x="0" y="212997"/>
                        </a:lnTo>
                        <a:lnTo>
                          <a:pt x="0" y="30769"/>
                        </a:lnTo>
                        <a:lnTo>
                          <a:pt x="40003" y="0"/>
                        </a:lnTo>
                        <a:close/>
                      </a:path>
                    </a:pathLst>
                  </a:custGeom>
                  <a:solidFill>
                    <a:srgbClr val="9258A2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4" name="Forme libre : forme 193">
                    <a:extLst>
                      <a:ext uri="{FF2B5EF4-FFF2-40B4-BE49-F238E27FC236}">
                        <a16:creationId xmlns:a16="http://schemas.microsoft.com/office/drawing/2014/main" id="{C6EB2FE1-A3B9-36A3-CE85-9C0E3122D385}"/>
                      </a:ext>
                    </a:extLst>
                  </p:cNvPr>
                  <p:cNvSpPr/>
                  <p:nvPr/>
                </p:nvSpPr>
                <p:spPr>
                  <a:xfrm>
                    <a:off x="2942488" y="2266717"/>
                    <a:ext cx="112140" cy="98438"/>
                  </a:xfrm>
                  <a:custGeom>
                    <a:avLst/>
                    <a:gdLst>
                      <a:gd name="connsiteX0" fmla="*/ 98123 w 112140"/>
                      <a:gd name="connsiteY0" fmla="*/ 0 h 98438"/>
                      <a:gd name="connsiteX1" fmla="*/ 14018 w 112140"/>
                      <a:gd name="connsiteY1" fmla="*/ 0 h 98438"/>
                      <a:gd name="connsiteX2" fmla="*/ 0 w 112140"/>
                      <a:gd name="connsiteY2" fmla="*/ 14018 h 98438"/>
                      <a:gd name="connsiteX3" fmla="*/ 14018 w 112140"/>
                      <a:gd name="connsiteY3" fmla="*/ 28035 h 98438"/>
                      <a:gd name="connsiteX4" fmla="*/ 24613 w 112140"/>
                      <a:gd name="connsiteY4" fmla="*/ 28035 h 98438"/>
                      <a:gd name="connsiteX5" fmla="*/ 11023 w 112140"/>
                      <a:gd name="connsiteY5" fmla="*/ 86485 h 98438"/>
                      <a:gd name="connsiteX6" fmla="*/ 26845 w 112140"/>
                      <a:gd name="connsiteY6" fmla="*/ 98289 h 98438"/>
                      <a:gd name="connsiteX7" fmla="*/ 29328 w 112140"/>
                      <a:gd name="connsiteY7" fmla="*/ 97692 h 98438"/>
                      <a:gd name="connsiteX8" fmla="*/ 38823 w 112140"/>
                      <a:gd name="connsiteY8" fmla="*/ 82796 h 98438"/>
                      <a:gd name="connsiteX9" fmla="*/ 55273 w 112140"/>
                      <a:gd name="connsiteY9" fmla="*/ 34639 h 98438"/>
                      <a:gd name="connsiteX10" fmla="*/ 56070 w 112140"/>
                      <a:gd name="connsiteY10" fmla="*/ 33840 h 98438"/>
                      <a:gd name="connsiteX11" fmla="*/ 56866 w 112140"/>
                      <a:gd name="connsiteY11" fmla="*/ 34637 h 98438"/>
                      <a:gd name="connsiteX12" fmla="*/ 73317 w 112140"/>
                      <a:gd name="connsiteY12" fmla="*/ 82796 h 98438"/>
                      <a:gd name="connsiteX13" fmla="*/ 82812 w 112140"/>
                      <a:gd name="connsiteY13" fmla="*/ 97692 h 98438"/>
                      <a:gd name="connsiteX14" fmla="*/ 100520 w 112140"/>
                      <a:gd name="connsiteY14" fmla="*/ 88968 h 98438"/>
                      <a:gd name="connsiteX15" fmla="*/ 101117 w 112140"/>
                      <a:gd name="connsiteY15" fmla="*/ 86485 h 98438"/>
                      <a:gd name="connsiteX16" fmla="*/ 87527 w 112140"/>
                      <a:gd name="connsiteY16" fmla="*/ 28035 h 98438"/>
                      <a:gd name="connsiteX17" fmla="*/ 98123 w 112140"/>
                      <a:gd name="connsiteY17" fmla="*/ 28035 h 98438"/>
                      <a:gd name="connsiteX18" fmla="*/ 112141 w 112140"/>
                      <a:gd name="connsiteY18" fmla="*/ 14018 h 98438"/>
                      <a:gd name="connsiteX19" fmla="*/ 98123 w 112140"/>
                      <a:gd name="connsiteY19" fmla="*/ 0 h 984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2140" h="98438">
                        <a:moveTo>
                          <a:pt x="98123" y="0"/>
                        </a:moveTo>
                        <a:lnTo>
                          <a:pt x="14018" y="0"/>
                        </a:lnTo>
                        <a:cubicBezTo>
                          <a:pt x="6276" y="0"/>
                          <a:pt x="0" y="6276"/>
                          <a:pt x="0" y="14018"/>
                        </a:cubicBezTo>
                        <a:cubicBezTo>
                          <a:pt x="0" y="21759"/>
                          <a:pt x="6276" y="28035"/>
                          <a:pt x="14018" y="28035"/>
                        </a:cubicBezTo>
                        <a:lnTo>
                          <a:pt x="24613" y="28035"/>
                        </a:lnTo>
                        <a:cubicBezTo>
                          <a:pt x="13127" y="45219"/>
                          <a:pt x="8297" y="65996"/>
                          <a:pt x="11023" y="86485"/>
                        </a:cubicBezTo>
                        <a:cubicBezTo>
                          <a:pt x="12132" y="94114"/>
                          <a:pt x="19216" y="99399"/>
                          <a:pt x="26845" y="98289"/>
                        </a:cubicBezTo>
                        <a:cubicBezTo>
                          <a:pt x="27688" y="98167"/>
                          <a:pt x="28520" y="97967"/>
                          <a:pt x="29328" y="97692"/>
                        </a:cubicBezTo>
                        <a:cubicBezTo>
                          <a:pt x="35645" y="95631"/>
                          <a:pt x="39621" y="89392"/>
                          <a:pt x="38823" y="82796"/>
                        </a:cubicBezTo>
                        <a:cubicBezTo>
                          <a:pt x="36493" y="65056"/>
                          <a:pt x="42577" y="47246"/>
                          <a:pt x="55273" y="34639"/>
                        </a:cubicBezTo>
                        <a:lnTo>
                          <a:pt x="56070" y="33840"/>
                        </a:lnTo>
                        <a:lnTo>
                          <a:pt x="56866" y="34637"/>
                        </a:lnTo>
                        <a:cubicBezTo>
                          <a:pt x="69562" y="47244"/>
                          <a:pt x="75648" y="65056"/>
                          <a:pt x="73317" y="82796"/>
                        </a:cubicBezTo>
                        <a:cubicBezTo>
                          <a:pt x="72520" y="89392"/>
                          <a:pt x="76496" y="95631"/>
                          <a:pt x="82812" y="97692"/>
                        </a:cubicBezTo>
                        <a:cubicBezTo>
                          <a:pt x="90112" y="100173"/>
                          <a:pt x="98039" y="96267"/>
                          <a:pt x="100520" y="88968"/>
                        </a:cubicBezTo>
                        <a:cubicBezTo>
                          <a:pt x="100795" y="88160"/>
                          <a:pt x="100995" y="87329"/>
                          <a:pt x="101117" y="86485"/>
                        </a:cubicBezTo>
                        <a:cubicBezTo>
                          <a:pt x="103844" y="65996"/>
                          <a:pt x="99013" y="45219"/>
                          <a:pt x="87527" y="28035"/>
                        </a:cubicBezTo>
                        <a:lnTo>
                          <a:pt x="98123" y="28035"/>
                        </a:lnTo>
                        <a:cubicBezTo>
                          <a:pt x="105864" y="28035"/>
                          <a:pt x="112141" y="21759"/>
                          <a:pt x="112141" y="14018"/>
                        </a:cubicBezTo>
                        <a:cubicBezTo>
                          <a:pt x="112141" y="6276"/>
                          <a:pt x="105864" y="0"/>
                          <a:pt x="98123" y="0"/>
                        </a:cubicBezTo>
                        <a:close/>
                      </a:path>
                    </a:pathLst>
                  </a:custGeom>
                  <a:solidFill>
                    <a:srgbClr val="582974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5" name="Forme libre : forme 194">
                    <a:extLst>
                      <a:ext uri="{FF2B5EF4-FFF2-40B4-BE49-F238E27FC236}">
                        <a16:creationId xmlns:a16="http://schemas.microsoft.com/office/drawing/2014/main" id="{F0604730-E04F-DF5F-1281-541F5A975529}"/>
                      </a:ext>
                    </a:extLst>
                  </p:cNvPr>
                  <p:cNvSpPr/>
                  <p:nvPr/>
                </p:nvSpPr>
                <p:spPr>
                  <a:xfrm>
                    <a:off x="3236850" y="2000383"/>
                    <a:ext cx="280358" cy="280358"/>
                  </a:xfrm>
                  <a:custGeom>
                    <a:avLst/>
                    <a:gdLst>
                      <a:gd name="connsiteX0" fmla="*/ 140183 w 280358"/>
                      <a:gd name="connsiteY0" fmla="*/ 0 h 280358"/>
                      <a:gd name="connsiteX1" fmla="*/ 0 w 280358"/>
                      <a:gd name="connsiteY1" fmla="*/ 140176 h 280358"/>
                      <a:gd name="connsiteX2" fmla="*/ 140176 w 280358"/>
                      <a:gd name="connsiteY2" fmla="*/ 280358 h 280358"/>
                      <a:gd name="connsiteX3" fmla="*/ 280358 w 280358"/>
                      <a:gd name="connsiteY3" fmla="*/ 140183 h 280358"/>
                      <a:gd name="connsiteX4" fmla="*/ 280358 w 280358"/>
                      <a:gd name="connsiteY4" fmla="*/ 140176 h 280358"/>
                      <a:gd name="connsiteX5" fmla="*/ 140183 w 280358"/>
                      <a:gd name="connsiteY5" fmla="*/ 0 h 280358"/>
                      <a:gd name="connsiteX6" fmla="*/ 140183 w 280358"/>
                      <a:gd name="connsiteY6" fmla="*/ 196246 h 280358"/>
                      <a:gd name="connsiteX7" fmla="*/ 84142 w 280358"/>
                      <a:gd name="connsiteY7" fmla="*/ 140176 h 280358"/>
                      <a:gd name="connsiteX8" fmla="*/ 140212 w 280358"/>
                      <a:gd name="connsiteY8" fmla="*/ 84136 h 280358"/>
                      <a:gd name="connsiteX9" fmla="*/ 196253 w 280358"/>
                      <a:gd name="connsiteY9" fmla="*/ 140205 h 280358"/>
                      <a:gd name="connsiteX10" fmla="*/ 179835 w 280358"/>
                      <a:gd name="connsiteY10" fmla="*/ 179828 h 280358"/>
                      <a:gd name="connsiteX11" fmla="*/ 140183 w 280358"/>
                      <a:gd name="connsiteY11" fmla="*/ 196246 h 280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80358" h="280358">
                        <a:moveTo>
                          <a:pt x="140183" y="0"/>
                        </a:moveTo>
                        <a:cubicBezTo>
                          <a:pt x="62764" y="-2"/>
                          <a:pt x="2" y="62757"/>
                          <a:pt x="0" y="140176"/>
                        </a:cubicBezTo>
                        <a:cubicBezTo>
                          <a:pt x="-4" y="217595"/>
                          <a:pt x="62757" y="280357"/>
                          <a:pt x="140176" y="280358"/>
                        </a:cubicBezTo>
                        <a:cubicBezTo>
                          <a:pt x="217595" y="280362"/>
                          <a:pt x="280357" y="217602"/>
                          <a:pt x="280358" y="140183"/>
                        </a:cubicBezTo>
                        <a:cubicBezTo>
                          <a:pt x="280358" y="140181"/>
                          <a:pt x="280358" y="140177"/>
                          <a:pt x="280358" y="140176"/>
                        </a:cubicBezTo>
                        <a:cubicBezTo>
                          <a:pt x="280355" y="62760"/>
                          <a:pt x="217598" y="4"/>
                          <a:pt x="140183" y="0"/>
                        </a:cubicBezTo>
                        <a:close/>
                        <a:moveTo>
                          <a:pt x="140183" y="196246"/>
                        </a:moveTo>
                        <a:cubicBezTo>
                          <a:pt x="109225" y="196237"/>
                          <a:pt x="84133" y="171133"/>
                          <a:pt x="84142" y="140176"/>
                        </a:cubicBezTo>
                        <a:cubicBezTo>
                          <a:pt x="84151" y="109217"/>
                          <a:pt x="109255" y="84127"/>
                          <a:pt x="140212" y="84136"/>
                        </a:cubicBezTo>
                        <a:cubicBezTo>
                          <a:pt x="171172" y="84144"/>
                          <a:pt x="196262" y="109247"/>
                          <a:pt x="196253" y="140205"/>
                        </a:cubicBezTo>
                        <a:cubicBezTo>
                          <a:pt x="196249" y="155068"/>
                          <a:pt x="190343" y="169318"/>
                          <a:pt x="179835" y="179828"/>
                        </a:cubicBezTo>
                        <a:cubicBezTo>
                          <a:pt x="169318" y="190341"/>
                          <a:pt x="155054" y="196248"/>
                          <a:pt x="140183" y="196246"/>
                        </a:cubicBezTo>
                        <a:close/>
                      </a:path>
                    </a:pathLst>
                  </a:custGeom>
                  <a:solidFill>
                    <a:srgbClr val="FF7645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6" name="Forme libre : forme 195">
                    <a:extLst>
                      <a:ext uri="{FF2B5EF4-FFF2-40B4-BE49-F238E27FC236}">
                        <a16:creationId xmlns:a16="http://schemas.microsoft.com/office/drawing/2014/main" id="{87C3BB0D-F3E0-841F-8D55-C329CE5F05C6}"/>
                      </a:ext>
                    </a:extLst>
                  </p:cNvPr>
                  <p:cNvSpPr/>
                  <p:nvPr/>
                </p:nvSpPr>
                <p:spPr>
                  <a:xfrm>
                    <a:off x="3377032" y="2000383"/>
                    <a:ext cx="140175" cy="140175"/>
                  </a:xfrm>
                  <a:custGeom>
                    <a:avLst/>
                    <a:gdLst>
                      <a:gd name="connsiteX0" fmla="*/ 140176 w 140175"/>
                      <a:gd name="connsiteY0" fmla="*/ 140176 h 140175"/>
                      <a:gd name="connsiteX1" fmla="*/ 56070 w 140175"/>
                      <a:gd name="connsiteY1" fmla="*/ 140176 h 140175"/>
                      <a:gd name="connsiteX2" fmla="*/ 0 w 140175"/>
                      <a:gd name="connsiteY2" fmla="*/ 84105 h 140175"/>
                      <a:gd name="connsiteX3" fmla="*/ 0 w 140175"/>
                      <a:gd name="connsiteY3" fmla="*/ 0 h 140175"/>
                      <a:gd name="connsiteX4" fmla="*/ 140176 w 140175"/>
                      <a:gd name="connsiteY4" fmla="*/ 140176 h 140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0175" h="140175">
                        <a:moveTo>
                          <a:pt x="140176" y="140176"/>
                        </a:moveTo>
                        <a:lnTo>
                          <a:pt x="56070" y="140176"/>
                        </a:lnTo>
                        <a:cubicBezTo>
                          <a:pt x="56067" y="109210"/>
                          <a:pt x="30965" y="84109"/>
                          <a:pt x="0" y="84105"/>
                        </a:cubicBezTo>
                        <a:lnTo>
                          <a:pt x="0" y="0"/>
                        </a:lnTo>
                        <a:cubicBezTo>
                          <a:pt x="77416" y="4"/>
                          <a:pt x="140172" y="62760"/>
                          <a:pt x="140176" y="140176"/>
                        </a:cubicBezTo>
                        <a:close/>
                      </a:path>
                    </a:pathLst>
                  </a:custGeom>
                  <a:solidFill>
                    <a:srgbClr val="FF9B1E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  <p:sp>
                <p:nvSpPr>
                  <p:cNvPr id="197" name="Forme libre : forme 196">
                    <a:extLst>
                      <a:ext uri="{FF2B5EF4-FFF2-40B4-BE49-F238E27FC236}">
                        <a16:creationId xmlns:a16="http://schemas.microsoft.com/office/drawing/2014/main" id="{0648BC78-4C66-7842-C897-DC251DE749AF}"/>
                      </a:ext>
                    </a:extLst>
                  </p:cNvPr>
                  <p:cNvSpPr/>
                  <p:nvPr/>
                </p:nvSpPr>
                <p:spPr>
                  <a:xfrm>
                    <a:off x="3416684" y="2140559"/>
                    <a:ext cx="100523" cy="99121"/>
                  </a:xfrm>
                  <a:custGeom>
                    <a:avLst/>
                    <a:gdLst>
                      <a:gd name="connsiteX0" fmla="*/ 100523 w 100523"/>
                      <a:gd name="connsiteY0" fmla="*/ 0 h 99121"/>
                      <a:gd name="connsiteX1" fmla="*/ 59470 w 100523"/>
                      <a:gd name="connsiteY1" fmla="*/ 99122 h 99121"/>
                      <a:gd name="connsiteX2" fmla="*/ 0 w 100523"/>
                      <a:gd name="connsiteY2" fmla="*/ 39652 h 99121"/>
                      <a:gd name="connsiteX3" fmla="*/ 16418 w 100523"/>
                      <a:gd name="connsiteY3" fmla="*/ 0 h 991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0523" h="99121">
                        <a:moveTo>
                          <a:pt x="100523" y="0"/>
                        </a:moveTo>
                        <a:cubicBezTo>
                          <a:pt x="100565" y="37185"/>
                          <a:pt x="85791" y="72856"/>
                          <a:pt x="59470" y="99122"/>
                        </a:cubicBezTo>
                        <a:lnTo>
                          <a:pt x="0" y="39652"/>
                        </a:lnTo>
                        <a:cubicBezTo>
                          <a:pt x="10531" y="29146"/>
                          <a:pt x="16439" y="14876"/>
                          <a:pt x="16418" y="0"/>
                        </a:cubicBezTo>
                        <a:close/>
                      </a:path>
                    </a:pathLst>
                  </a:custGeom>
                  <a:solidFill>
                    <a:srgbClr val="FFB65F"/>
                  </a:solidFill>
                  <a:ln w="17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9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8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7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6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5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4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3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200" algn="l" defTabSz="685800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788"/>
                  </a:p>
                </p:txBody>
              </p:sp>
            </p:grpSp>
            <p:sp>
              <p:nvSpPr>
                <p:cNvPr id="185" name="ZoneTexte 184">
                  <a:extLst>
                    <a:ext uri="{FF2B5EF4-FFF2-40B4-BE49-F238E27FC236}">
                      <a16:creationId xmlns:a16="http://schemas.microsoft.com/office/drawing/2014/main" id="{6FF9CBD5-FCAF-1237-54A2-1C24A4C5CAC4}"/>
                    </a:ext>
                  </a:extLst>
                </p:cNvPr>
                <p:cNvSpPr txBox="1"/>
                <p:nvPr/>
              </p:nvSpPr>
              <p:spPr>
                <a:xfrm>
                  <a:off x="7690280" y="3503490"/>
                  <a:ext cx="229550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9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8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7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6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5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4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3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2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" sz="600" b="1">
                      <a:solidFill>
                        <a:srgbClr val="582974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€</a:t>
                  </a:r>
                </a:p>
              </p:txBody>
            </p:sp>
          </p:grpSp>
        </p:grpSp>
      </p:grpSp>
      <p:grpSp>
        <p:nvGrpSpPr>
          <p:cNvPr id="198" name="Groupe 197">
            <a:extLst>
              <a:ext uri="{FF2B5EF4-FFF2-40B4-BE49-F238E27FC236}">
                <a16:creationId xmlns:a16="http://schemas.microsoft.com/office/drawing/2014/main" id="{A4F7F4AE-4277-679E-7699-E43E96C0350E}"/>
              </a:ext>
            </a:extLst>
          </p:cNvPr>
          <p:cNvGrpSpPr/>
          <p:nvPr/>
        </p:nvGrpSpPr>
        <p:grpSpPr>
          <a:xfrm>
            <a:off x="552904" y="2509548"/>
            <a:ext cx="799325" cy="772194"/>
            <a:chOff x="552903" y="2830306"/>
            <a:chExt cx="799325" cy="772194"/>
          </a:xfrm>
        </p:grpSpPr>
        <p:sp>
          <p:nvSpPr>
            <p:cNvPr id="199" name="Freeform 5">
              <a:extLst>
                <a:ext uri="{FF2B5EF4-FFF2-40B4-BE49-F238E27FC236}">
                  <a16:creationId xmlns:a16="http://schemas.microsoft.com/office/drawing/2014/main" id="{B51957B8-1826-AE7D-08F1-7D07C1EE6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5702" y="2991006"/>
              <a:ext cx="156526" cy="422967"/>
            </a:xfrm>
            <a:custGeom>
              <a:avLst/>
              <a:gdLst>
                <a:gd name="T0" fmla="*/ 18 w 73"/>
                <a:gd name="T1" fmla="*/ 98 h 197"/>
                <a:gd name="T2" fmla="*/ 0 w 73"/>
                <a:gd name="T3" fmla="*/ 32 h 197"/>
                <a:gd name="T4" fmla="*/ 45 w 73"/>
                <a:gd name="T5" fmla="*/ 0 h 197"/>
                <a:gd name="T6" fmla="*/ 73 w 73"/>
                <a:gd name="T7" fmla="*/ 98 h 197"/>
                <a:gd name="T8" fmla="*/ 45 w 73"/>
                <a:gd name="T9" fmla="*/ 197 h 197"/>
                <a:gd name="T10" fmla="*/ 0 w 73"/>
                <a:gd name="T11" fmla="*/ 164 h 197"/>
                <a:gd name="T12" fmla="*/ 18 w 73"/>
                <a:gd name="T13" fmla="*/ 9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97">
                  <a:moveTo>
                    <a:pt x="18" y="98"/>
                  </a:moveTo>
                  <a:cubicBezTo>
                    <a:pt x="18" y="74"/>
                    <a:pt x="12" y="51"/>
                    <a:pt x="0" y="3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2" y="28"/>
                    <a:pt x="73" y="62"/>
                    <a:pt x="73" y="98"/>
                  </a:cubicBezTo>
                  <a:cubicBezTo>
                    <a:pt x="73" y="134"/>
                    <a:pt x="62" y="168"/>
                    <a:pt x="45" y="197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2" y="145"/>
                    <a:pt x="18" y="122"/>
                    <a:pt x="18" y="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00" name="Freeform 6">
              <a:extLst>
                <a:ext uri="{FF2B5EF4-FFF2-40B4-BE49-F238E27FC236}">
                  <a16:creationId xmlns:a16="http://schemas.microsoft.com/office/drawing/2014/main" id="{14F18DF2-18BD-E219-51E3-0CF0CF303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606" y="3390321"/>
              <a:ext cx="400706" cy="212179"/>
            </a:xfrm>
            <a:custGeom>
              <a:avLst/>
              <a:gdLst>
                <a:gd name="T0" fmla="*/ 44 w 187"/>
                <a:gd name="T1" fmla="*/ 44 h 99"/>
                <a:gd name="T2" fmla="*/ 142 w 187"/>
                <a:gd name="T3" fmla="*/ 0 h 99"/>
                <a:gd name="T4" fmla="*/ 187 w 187"/>
                <a:gd name="T5" fmla="*/ 32 h 99"/>
                <a:gd name="T6" fmla="*/ 44 w 187"/>
                <a:gd name="T7" fmla="*/ 99 h 99"/>
                <a:gd name="T8" fmla="*/ 0 w 187"/>
                <a:gd name="T9" fmla="*/ 93 h 99"/>
                <a:gd name="T10" fmla="*/ 16 w 187"/>
                <a:gd name="T11" fmla="*/ 41 h 99"/>
                <a:gd name="T12" fmla="*/ 44 w 187"/>
                <a:gd name="T13" fmla="*/ 4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99">
                  <a:moveTo>
                    <a:pt x="44" y="44"/>
                  </a:moveTo>
                  <a:cubicBezTo>
                    <a:pt x="83" y="44"/>
                    <a:pt x="118" y="27"/>
                    <a:pt x="142" y="0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53" y="73"/>
                    <a:pt x="101" y="99"/>
                    <a:pt x="44" y="99"/>
                  </a:cubicBezTo>
                  <a:cubicBezTo>
                    <a:pt x="29" y="99"/>
                    <a:pt x="14" y="97"/>
                    <a:pt x="0" y="93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25" y="43"/>
                    <a:pt x="35" y="44"/>
                    <a:pt x="44" y="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01" name="Freeform 7">
              <a:extLst>
                <a:ext uri="{FF2B5EF4-FFF2-40B4-BE49-F238E27FC236}">
                  <a16:creationId xmlns:a16="http://schemas.microsoft.com/office/drawing/2014/main" id="{5EED51F6-56C4-2924-D45B-A42A7CC9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03" y="3231708"/>
              <a:ext cx="285225" cy="340878"/>
            </a:xfrm>
            <a:custGeom>
              <a:avLst/>
              <a:gdLst>
                <a:gd name="T0" fmla="*/ 133 w 133"/>
                <a:gd name="T1" fmla="*/ 107 h 159"/>
                <a:gd name="T2" fmla="*/ 116 w 133"/>
                <a:gd name="T3" fmla="*/ 159 h 159"/>
                <a:gd name="T4" fmla="*/ 0 w 133"/>
                <a:gd name="T5" fmla="*/ 0 h 159"/>
                <a:gd name="T6" fmla="*/ 55 w 133"/>
                <a:gd name="T7" fmla="*/ 0 h 159"/>
                <a:gd name="T8" fmla="*/ 133 w 133"/>
                <a:gd name="T9" fmla="*/ 10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59">
                  <a:moveTo>
                    <a:pt x="133" y="107"/>
                  </a:moveTo>
                  <a:cubicBezTo>
                    <a:pt x="116" y="159"/>
                    <a:pt x="116" y="159"/>
                    <a:pt x="116" y="159"/>
                  </a:cubicBezTo>
                  <a:cubicBezTo>
                    <a:pt x="52" y="133"/>
                    <a:pt x="5" y="72"/>
                    <a:pt x="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0" y="48"/>
                    <a:pt x="91" y="88"/>
                    <a:pt x="133" y="10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02" name="Freeform 9">
              <a:extLst>
                <a:ext uri="{FF2B5EF4-FFF2-40B4-BE49-F238E27FC236}">
                  <a16:creationId xmlns:a16="http://schemas.microsoft.com/office/drawing/2014/main" id="{6AA5BA4A-D561-0BF3-908D-46065DC27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03" y="2830306"/>
              <a:ext cx="285225" cy="342965"/>
            </a:xfrm>
            <a:custGeom>
              <a:avLst/>
              <a:gdLst>
                <a:gd name="T0" fmla="*/ 55 w 133"/>
                <a:gd name="T1" fmla="*/ 160 h 160"/>
                <a:gd name="T2" fmla="*/ 0 w 133"/>
                <a:gd name="T3" fmla="*/ 160 h 160"/>
                <a:gd name="T4" fmla="*/ 116 w 133"/>
                <a:gd name="T5" fmla="*/ 0 h 160"/>
                <a:gd name="T6" fmla="*/ 133 w 133"/>
                <a:gd name="T7" fmla="*/ 53 h 160"/>
                <a:gd name="T8" fmla="*/ 55 w 133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60">
                  <a:moveTo>
                    <a:pt x="55" y="16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5" y="87"/>
                    <a:pt x="52" y="27"/>
                    <a:pt x="116" y="0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91" y="71"/>
                    <a:pt x="60" y="112"/>
                    <a:pt x="55" y="160"/>
                  </a:cubicBezTo>
                  <a:close/>
                </a:path>
              </a:pathLst>
            </a:custGeom>
            <a:solidFill>
              <a:srgbClr val="9757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203" name="Graphique 731">
              <a:extLst>
                <a:ext uri="{FF2B5EF4-FFF2-40B4-BE49-F238E27FC236}">
                  <a16:creationId xmlns:a16="http://schemas.microsoft.com/office/drawing/2014/main" id="{A225D4D1-E06B-CB18-3494-0D19C65AA716}"/>
                </a:ext>
              </a:extLst>
            </p:cNvPr>
            <p:cNvGrpSpPr/>
            <p:nvPr/>
          </p:nvGrpSpPr>
          <p:grpSpPr>
            <a:xfrm>
              <a:off x="721854" y="2992731"/>
              <a:ext cx="433477" cy="378741"/>
              <a:chOff x="1795317" y="2101465"/>
              <a:chExt cx="1241042" cy="1100926"/>
            </a:xfrm>
          </p:grpSpPr>
          <p:sp>
            <p:nvSpPr>
              <p:cNvPr id="204" name="Forme libre : forme 203">
                <a:extLst>
                  <a:ext uri="{FF2B5EF4-FFF2-40B4-BE49-F238E27FC236}">
                    <a16:creationId xmlns:a16="http://schemas.microsoft.com/office/drawing/2014/main" id="{298890D2-5BE8-B797-25AF-27915121CC87}"/>
                  </a:ext>
                </a:extLst>
              </p:cNvPr>
              <p:cNvSpPr/>
              <p:nvPr/>
            </p:nvSpPr>
            <p:spPr>
              <a:xfrm>
                <a:off x="2215669" y="2581869"/>
                <a:ext cx="386885" cy="320267"/>
              </a:xfrm>
              <a:custGeom>
                <a:avLst/>
                <a:gdLst>
                  <a:gd name="connsiteX0" fmla="*/ 375612 w 386885"/>
                  <a:gd name="connsiteY0" fmla="*/ 194379 h 320267"/>
                  <a:gd name="connsiteX1" fmla="*/ 376441 w 386885"/>
                  <a:gd name="connsiteY1" fmla="*/ 163869 h 320267"/>
                  <a:gd name="connsiteX2" fmla="*/ 318832 w 386885"/>
                  <a:gd name="connsiteY2" fmla="*/ 140108 h 320267"/>
                  <a:gd name="connsiteX3" fmla="*/ 137785 w 386885"/>
                  <a:gd name="connsiteY3" fmla="*/ 1516 h 320267"/>
                  <a:gd name="connsiteX4" fmla="*/ 1023 w 386885"/>
                  <a:gd name="connsiteY4" fmla="*/ 141778 h 320267"/>
                  <a:gd name="connsiteX5" fmla="*/ 160133 w 386885"/>
                  <a:gd name="connsiteY5" fmla="*/ 320268 h 320267"/>
                  <a:gd name="connsiteX6" fmla="*/ 310370 w 386885"/>
                  <a:gd name="connsiteY6" fmla="*/ 215123 h 320267"/>
                  <a:gd name="connsiteX7" fmla="*/ 375612 w 386885"/>
                  <a:gd name="connsiteY7" fmla="*/ 194379 h 320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6885" h="320267">
                    <a:moveTo>
                      <a:pt x="375612" y="194379"/>
                    </a:moveTo>
                    <a:cubicBezTo>
                      <a:pt x="390213" y="189735"/>
                      <a:pt x="390781" y="169275"/>
                      <a:pt x="376441" y="163869"/>
                    </a:cubicBezTo>
                    <a:cubicBezTo>
                      <a:pt x="349097" y="153565"/>
                      <a:pt x="319052" y="141863"/>
                      <a:pt x="318832" y="140108"/>
                    </a:cubicBezTo>
                    <a:cubicBezTo>
                      <a:pt x="308082" y="54037"/>
                      <a:pt x="229224" y="-10856"/>
                      <a:pt x="137785" y="1516"/>
                    </a:cubicBezTo>
                    <a:cubicBezTo>
                      <a:pt x="64379" y="11447"/>
                      <a:pt x="9208" y="68159"/>
                      <a:pt x="1023" y="141778"/>
                    </a:cubicBezTo>
                    <a:cubicBezTo>
                      <a:pt x="-9725" y="238436"/>
                      <a:pt x="65649" y="320268"/>
                      <a:pt x="160133" y="320268"/>
                    </a:cubicBezTo>
                    <a:cubicBezTo>
                      <a:pt x="229222" y="320268"/>
                      <a:pt x="287915" y="276431"/>
                      <a:pt x="310370" y="215123"/>
                    </a:cubicBezTo>
                    <a:lnTo>
                      <a:pt x="375612" y="194379"/>
                    </a:lnTo>
                    <a:close/>
                  </a:path>
                </a:pathLst>
              </a:custGeom>
              <a:solidFill>
                <a:srgbClr val="9258A2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5" name="Forme libre : forme 204">
                <a:extLst>
                  <a:ext uri="{FF2B5EF4-FFF2-40B4-BE49-F238E27FC236}">
                    <a16:creationId xmlns:a16="http://schemas.microsoft.com/office/drawing/2014/main" id="{764099D6-EE80-A17D-FE1B-C7CBEE77780C}"/>
                  </a:ext>
                </a:extLst>
              </p:cNvPr>
              <p:cNvSpPr/>
              <p:nvPr/>
            </p:nvSpPr>
            <p:spPr>
              <a:xfrm>
                <a:off x="1995486" y="2101465"/>
                <a:ext cx="520435" cy="443983"/>
              </a:xfrm>
              <a:custGeom>
                <a:avLst/>
                <a:gdLst>
                  <a:gd name="connsiteX0" fmla="*/ 440369 w 520435"/>
                  <a:gd name="connsiteY0" fmla="*/ 0 h 443983"/>
                  <a:gd name="connsiteX1" fmla="*/ 80067 w 520435"/>
                  <a:gd name="connsiteY1" fmla="*/ 0 h 443983"/>
                  <a:gd name="connsiteX2" fmla="*/ 0 w 520435"/>
                  <a:gd name="connsiteY2" fmla="*/ 80067 h 443983"/>
                  <a:gd name="connsiteX3" fmla="*/ 0 w 520435"/>
                  <a:gd name="connsiteY3" fmla="*/ 260219 h 443983"/>
                  <a:gd name="connsiteX4" fmla="*/ 80067 w 520435"/>
                  <a:gd name="connsiteY4" fmla="*/ 340286 h 443983"/>
                  <a:gd name="connsiteX5" fmla="*/ 280236 w 520435"/>
                  <a:gd name="connsiteY5" fmla="*/ 340286 h 443983"/>
                  <a:gd name="connsiteX6" fmla="*/ 251864 w 520435"/>
                  <a:gd name="connsiteY6" fmla="*/ 414768 h 443983"/>
                  <a:gd name="connsiteX7" fmla="*/ 277872 w 520435"/>
                  <a:gd name="connsiteY7" fmla="*/ 442269 h 443983"/>
                  <a:gd name="connsiteX8" fmla="*/ 400336 w 520435"/>
                  <a:gd name="connsiteY8" fmla="*/ 340286 h 443983"/>
                  <a:gd name="connsiteX9" fmla="*/ 440369 w 520435"/>
                  <a:gd name="connsiteY9" fmla="*/ 340286 h 443983"/>
                  <a:gd name="connsiteX10" fmla="*/ 520436 w 520435"/>
                  <a:gd name="connsiteY10" fmla="*/ 260219 h 443983"/>
                  <a:gd name="connsiteX11" fmla="*/ 520436 w 520435"/>
                  <a:gd name="connsiteY11" fmla="*/ 80067 h 443983"/>
                  <a:gd name="connsiteX12" fmla="*/ 440369 w 520435"/>
                  <a:gd name="connsiteY12" fmla="*/ 0 h 443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0435" h="443983">
                    <a:moveTo>
                      <a:pt x="440369" y="0"/>
                    </a:moveTo>
                    <a:lnTo>
                      <a:pt x="80067" y="0"/>
                    </a:lnTo>
                    <a:cubicBezTo>
                      <a:pt x="35847" y="0"/>
                      <a:pt x="0" y="35847"/>
                      <a:pt x="0" y="80067"/>
                    </a:cubicBezTo>
                    <a:lnTo>
                      <a:pt x="0" y="260219"/>
                    </a:lnTo>
                    <a:cubicBezTo>
                      <a:pt x="0" y="304439"/>
                      <a:pt x="35847" y="340286"/>
                      <a:pt x="80067" y="340286"/>
                    </a:cubicBezTo>
                    <a:lnTo>
                      <a:pt x="280236" y="340286"/>
                    </a:lnTo>
                    <a:cubicBezTo>
                      <a:pt x="280236" y="340286"/>
                      <a:pt x="270780" y="378113"/>
                      <a:pt x="251864" y="414768"/>
                    </a:cubicBezTo>
                    <a:cubicBezTo>
                      <a:pt x="243174" y="431604"/>
                      <a:pt x="260440" y="449694"/>
                      <a:pt x="277872" y="442269"/>
                    </a:cubicBezTo>
                    <a:cubicBezTo>
                      <a:pt x="317101" y="425561"/>
                      <a:pt x="367627" y="394800"/>
                      <a:pt x="400336" y="340286"/>
                    </a:cubicBezTo>
                    <a:lnTo>
                      <a:pt x="440369" y="340286"/>
                    </a:lnTo>
                    <a:cubicBezTo>
                      <a:pt x="484589" y="340286"/>
                      <a:pt x="520436" y="304439"/>
                      <a:pt x="520436" y="260219"/>
                    </a:cubicBezTo>
                    <a:lnTo>
                      <a:pt x="520436" y="80067"/>
                    </a:lnTo>
                    <a:cubicBezTo>
                      <a:pt x="520436" y="35847"/>
                      <a:pt x="484589" y="0"/>
                      <a:pt x="440369" y="0"/>
                    </a:cubicBezTo>
                    <a:close/>
                  </a:path>
                </a:pathLst>
              </a:custGeom>
              <a:solidFill>
                <a:srgbClr val="EDEBED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6" name="Forme libre : forme 205">
                <a:extLst>
                  <a:ext uri="{FF2B5EF4-FFF2-40B4-BE49-F238E27FC236}">
                    <a16:creationId xmlns:a16="http://schemas.microsoft.com/office/drawing/2014/main" id="{54D9870B-34FA-ECA6-B467-55854EC7CD34}"/>
                  </a:ext>
                </a:extLst>
              </p:cNvPr>
              <p:cNvSpPr/>
              <p:nvPr/>
            </p:nvSpPr>
            <p:spPr>
              <a:xfrm>
                <a:off x="2335771" y="2201551"/>
                <a:ext cx="80066" cy="40033"/>
              </a:xfrm>
              <a:custGeom>
                <a:avLst/>
                <a:gdLst>
                  <a:gd name="connsiteX0" fmla="*/ 60050 w 80066"/>
                  <a:gd name="connsiteY0" fmla="*/ 40033 h 40033"/>
                  <a:gd name="connsiteX1" fmla="*/ 20017 w 80066"/>
                  <a:gd name="connsiteY1" fmla="*/ 40033 h 40033"/>
                  <a:gd name="connsiteX2" fmla="*/ 0 w 80066"/>
                  <a:gd name="connsiteY2" fmla="*/ 20017 h 40033"/>
                  <a:gd name="connsiteX3" fmla="*/ 20017 w 80066"/>
                  <a:gd name="connsiteY3" fmla="*/ 0 h 40033"/>
                  <a:gd name="connsiteX4" fmla="*/ 60050 w 80066"/>
                  <a:gd name="connsiteY4" fmla="*/ 0 h 40033"/>
                  <a:gd name="connsiteX5" fmla="*/ 80067 w 80066"/>
                  <a:gd name="connsiteY5" fmla="*/ 20017 h 40033"/>
                  <a:gd name="connsiteX6" fmla="*/ 60050 w 80066"/>
                  <a:gd name="connsiteY6" fmla="*/ 40033 h 40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0066" h="40033">
                    <a:moveTo>
                      <a:pt x="60050" y="40033"/>
                    </a:moveTo>
                    <a:lnTo>
                      <a:pt x="20017" y="40033"/>
                    </a:lnTo>
                    <a:cubicBezTo>
                      <a:pt x="8951" y="40033"/>
                      <a:pt x="0" y="31070"/>
                      <a:pt x="0" y="20017"/>
                    </a:cubicBezTo>
                    <a:cubicBezTo>
                      <a:pt x="0" y="8964"/>
                      <a:pt x="8954" y="0"/>
                      <a:pt x="20017" y="0"/>
                    </a:cubicBezTo>
                    <a:lnTo>
                      <a:pt x="60050" y="0"/>
                    </a:lnTo>
                    <a:cubicBezTo>
                      <a:pt x="71115" y="0"/>
                      <a:pt x="80067" y="8964"/>
                      <a:pt x="80067" y="20017"/>
                    </a:cubicBezTo>
                    <a:cubicBezTo>
                      <a:pt x="80067" y="31070"/>
                      <a:pt x="71113" y="40033"/>
                      <a:pt x="60050" y="40033"/>
                    </a:cubicBezTo>
                    <a:close/>
                  </a:path>
                </a:pathLst>
              </a:custGeom>
              <a:solidFill>
                <a:srgbClr val="FF7645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207" name="Graphique 731">
                <a:extLst>
                  <a:ext uri="{FF2B5EF4-FFF2-40B4-BE49-F238E27FC236}">
                    <a16:creationId xmlns:a16="http://schemas.microsoft.com/office/drawing/2014/main" id="{7FF19950-EA90-4878-F870-E5FCB4A94A2E}"/>
                  </a:ext>
                </a:extLst>
              </p:cNvPr>
              <p:cNvGrpSpPr/>
              <p:nvPr/>
            </p:nvGrpSpPr>
            <p:grpSpPr>
              <a:xfrm>
                <a:off x="2095566" y="2201551"/>
                <a:ext cx="320272" cy="140116"/>
                <a:chOff x="2095566" y="2201551"/>
                <a:chExt cx="320272" cy="140116"/>
              </a:xfrm>
              <a:solidFill>
                <a:srgbClr val="867E88"/>
              </a:solidFill>
            </p:grpSpPr>
            <p:sp>
              <p:nvSpPr>
                <p:cNvPr id="235" name="Forme libre : forme 234">
                  <a:extLst>
                    <a:ext uri="{FF2B5EF4-FFF2-40B4-BE49-F238E27FC236}">
                      <a16:creationId xmlns:a16="http://schemas.microsoft.com/office/drawing/2014/main" id="{4270E0FD-6B8B-F274-3D55-4853A3E42C1D}"/>
                    </a:ext>
                  </a:extLst>
                </p:cNvPr>
                <p:cNvSpPr/>
                <p:nvPr/>
              </p:nvSpPr>
              <p:spPr>
                <a:xfrm>
                  <a:off x="2095566" y="2201551"/>
                  <a:ext cx="200169" cy="40033"/>
                </a:xfrm>
                <a:custGeom>
                  <a:avLst/>
                  <a:gdLst>
                    <a:gd name="connsiteX0" fmla="*/ 180152 w 200169"/>
                    <a:gd name="connsiteY0" fmla="*/ 40033 h 40033"/>
                    <a:gd name="connsiteX1" fmla="*/ 20017 w 200169"/>
                    <a:gd name="connsiteY1" fmla="*/ 40033 h 40033"/>
                    <a:gd name="connsiteX2" fmla="*/ 0 w 200169"/>
                    <a:gd name="connsiteY2" fmla="*/ 20017 h 40033"/>
                    <a:gd name="connsiteX3" fmla="*/ 20017 w 200169"/>
                    <a:gd name="connsiteY3" fmla="*/ 0 h 40033"/>
                    <a:gd name="connsiteX4" fmla="*/ 180152 w 200169"/>
                    <a:gd name="connsiteY4" fmla="*/ 0 h 40033"/>
                    <a:gd name="connsiteX5" fmla="*/ 200169 w 200169"/>
                    <a:gd name="connsiteY5" fmla="*/ 20017 h 40033"/>
                    <a:gd name="connsiteX6" fmla="*/ 180152 w 200169"/>
                    <a:gd name="connsiteY6" fmla="*/ 40033 h 40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0169" h="40033">
                      <a:moveTo>
                        <a:pt x="180152" y="40033"/>
                      </a:moveTo>
                      <a:lnTo>
                        <a:pt x="20017" y="40033"/>
                      </a:lnTo>
                      <a:cubicBezTo>
                        <a:pt x="8952" y="40033"/>
                        <a:pt x="0" y="31070"/>
                        <a:pt x="0" y="20017"/>
                      </a:cubicBezTo>
                      <a:cubicBezTo>
                        <a:pt x="0" y="8964"/>
                        <a:pt x="8954" y="0"/>
                        <a:pt x="20017" y="0"/>
                      </a:cubicBezTo>
                      <a:lnTo>
                        <a:pt x="180152" y="0"/>
                      </a:lnTo>
                      <a:cubicBezTo>
                        <a:pt x="191218" y="0"/>
                        <a:pt x="200169" y="8964"/>
                        <a:pt x="200169" y="20017"/>
                      </a:cubicBezTo>
                      <a:cubicBezTo>
                        <a:pt x="200169" y="31070"/>
                        <a:pt x="191218" y="40033"/>
                        <a:pt x="180152" y="40033"/>
                      </a:cubicBezTo>
                      <a:close/>
                    </a:path>
                  </a:pathLst>
                </a:custGeom>
                <a:solidFill>
                  <a:srgbClr val="FF9B1E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36" name="Forme libre : forme 235">
                  <a:extLst>
                    <a:ext uri="{FF2B5EF4-FFF2-40B4-BE49-F238E27FC236}">
                      <a16:creationId xmlns:a16="http://schemas.microsoft.com/office/drawing/2014/main" id="{E033E3E1-1448-4B43-A30A-03208C0F9478}"/>
                    </a:ext>
                  </a:extLst>
                </p:cNvPr>
                <p:cNvSpPr/>
                <p:nvPr/>
              </p:nvSpPr>
              <p:spPr>
                <a:xfrm>
                  <a:off x="2215669" y="2301634"/>
                  <a:ext cx="200169" cy="40033"/>
                </a:xfrm>
                <a:custGeom>
                  <a:avLst/>
                  <a:gdLst>
                    <a:gd name="connsiteX0" fmla="*/ 180152 w 200169"/>
                    <a:gd name="connsiteY0" fmla="*/ 40033 h 40033"/>
                    <a:gd name="connsiteX1" fmla="*/ 20017 w 200169"/>
                    <a:gd name="connsiteY1" fmla="*/ 40033 h 40033"/>
                    <a:gd name="connsiteX2" fmla="*/ 0 w 200169"/>
                    <a:gd name="connsiteY2" fmla="*/ 20017 h 40033"/>
                    <a:gd name="connsiteX3" fmla="*/ 20017 w 200169"/>
                    <a:gd name="connsiteY3" fmla="*/ 0 h 40033"/>
                    <a:gd name="connsiteX4" fmla="*/ 180152 w 200169"/>
                    <a:gd name="connsiteY4" fmla="*/ 0 h 40033"/>
                    <a:gd name="connsiteX5" fmla="*/ 200169 w 200169"/>
                    <a:gd name="connsiteY5" fmla="*/ 20017 h 40033"/>
                    <a:gd name="connsiteX6" fmla="*/ 180152 w 200169"/>
                    <a:gd name="connsiteY6" fmla="*/ 40033 h 40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0169" h="40033">
                      <a:moveTo>
                        <a:pt x="180152" y="40033"/>
                      </a:moveTo>
                      <a:lnTo>
                        <a:pt x="20017" y="40033"/>
                      </a:lnTo>
                      <a:cubicBezTo>
                        <a:pt x="8951" y="40033"/>
                        <a:pt x="0" y="31070"/>
                        <a:pt x="0" y="20017"/>
                      </a:cubicBezTo>
                      <a:cubicBezTo>
                        <a:pt x="0" y="8964"/>
                        <a:pt x="8954" y="0"/>
                        <a:pt x="20017" y="0"/>
                      </a:cubicBezTo>
                      <a:lnTo>
                        <a:pt x="180152" y="0"/>
                      </a:lnTo>
                      <a:cubicBezTo>
                        <a:pt x="191218" y="0"/>
                        <a:pt x="200169" y="8964"/>
                        <a:pt x="200169" y="20017"/>
                      </a:cubicBezTo>
                      <a:cubicBezTo>
                        <a:pt x="200169" y="31070"/>
                        <a:pt x="191215" y="40033"/>
                        <a:pt x="180152" y="40033"/>
                      </a:cubicBezTo>
                      <a:close/>
                    </a:path>
                  </a:pathLst>
                </a:custGeom>
                <a:solidFill>
                  <a:srgbClr val="FF9B1E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208" name="Forme libre : forme 207">
                <a:extLst>
                  <a:ext uri="{FF2B5EF4-FFF2-40B4-BE49-F238E27FC236}">
                    <a16:creationId xmlns:a16="http://schemas.microsoft.com/office/drawing/2014/main" id="{08D9AA83-B747-4958-97A9-CF5876B5523F}"/>
                  </a:ext>
                </a:extLst>
              </p:cNvPr>
              <p:cNvSpPr/>
              <p:nvPr/>
            </p:nvSpPr>
            <p:spPr>
              <a:xfrm>
                <a:off x="2095569" y="2301634"/>
                <a:ext cx="80066" cy="40033"/>
              </a:xfrm>
              <a:custGeom>
                <a:avLst/>
                <a:gdLst>
                  <a:gd name="connsiteX0" fmla="*/ 60050 w 80066"/>
                  <a:gd name="connsiteY0" fmla="*/ 40033 h 40033"/>
                  <a:gd name="connsiteX1" fmla="*/ 20017 w 80066"/>
                  <a:gd name="connsiteY1" fmla="*/ 40033 h 40033"/>
                  <a:gd name="connsiteX2" fmla="*/ 0 w 80066"/>
                  <a:gd name="connsiteY2" fmla="*/ 20017 h 40033"/>
                  <a:gd name="connsiteX3" fmla="*/ 20017 w 80066"/>
                  <a:gd name="connsiteY3" fmla="*/ 0 h 40033"/>
                  <a:gd name="connsiteX4" fmla="*/ 60050 w 80066"/>
                  <a:gd name="connsiteY4" fmla="*/ 0 h 40033"/>
                  <a:gd name="connsiteX5" fmla="*/ 80067 w 80066"/>
                  <a:gd name="connsiteY5" fmla="*/ 20017 h 40033"/>
                  <a:gd name="connsiteX6" fmla="*/ 60050 w 80066"/>
                  <a:gd name="connsiteY6" fmla="*/ 40033 h 40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0066" h="40033">
                    <a:moveTo>
                      <a:pt x="60050" y="40033"/>
                    </a:moveTo>
                    <a:lnTo>
                      <a:pt x="20017" y="40033"/>
                    </a:lnTo>
                    <a:cubicBezTo>
                      <a:pt x="8952" y="40033"/>
                      <a:pt x="0" y="31070"/>
                      <a:pt x="0" y="20017"/>
                    </a:cubicBezTo>
                    <a:cubicBezTo>
                      <a:pt x="0" y="8964"/>
                      <a:pt x="8954" y="0"/>
                      <a:pt x="20017" y="0"/>
                    </a:cubicBezTo>
                    <a:lnTo>
                      <a:pt x="60050" y="0"/>
                    </a:lnTo>
                    <a:cubicBezTo>
                      <a:pt x="71115" y="0"/>
                      <a:pt x="80067" y="8964"/>
                      <a:pt x="80067" y="20017"/>
                    </a:cubicBezTo>
                    <a:cubicBezTo>
                      <a:pt x="80067" y="31070"/>
                      <a:pt x="71113" y="40033"/>
                      <a:pt x="60050" y="40033"/>
                    </a:cubicBezTo>
                    <a:close/>
                  </a:path>
                </a:pathLst>
              </a:custGeom>
              <a:solidFill>
                <a:srgbClr val="FF7645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9" name="Forme libre : forme 208">
                <a:extLst>
                  <a:ext uri="{FF2B5EF4-FFF2-40B4-BE49-F238E27FC236}">
                    <a16:creationId xmlns:a16="http://schemas.microsoft.com/office/drawing/2014/main" id="{3F3EBB02-2175-70E7-0F68-45EFC059B4FC}"/>
                  </a:ext>
                </a:extLst>
              </p:cNvPr>
              <p:cNvSpPr/>
              <p:nvPr/>
            </p:nvSpPr>
            <p:spPr>
              <a:xfrm>
                <a:off x="1795317" y="2802053"/>
                <a:ext cx="440369" cy="400335"/>
              </a:xfrm>
              <a:custGeom>
                <a:avLst/>
                <a:gdLst>
                  <a:gd name="connsiteX0" fmla="*/ 388415 w 440369"/>
                  <a:gd name="connsiteY0" fmla="*/ 100619 h 400335"/>
                  <a:gd name="connsiteX1" fmla="*/ 306210 w 440369"/>
                  <a:gd name="connsiteY1" fmla="*/ 69792 h 400335"/>
                  <a:gd name="connsiteX2" fmla="*/ 280233 w 440369"/>
                  <a:gd name="connsiteY2" fmla="*/ 32306 h 400335"/>
                  <a:gd name="connsiteX3" fmla="*/ 280233 w 440369"/>
                  <a:gd name="connsiteY3" fmla="*/ 0 h 400335"/>
                  <a:gd name="connsiteX4" fmla="*/ 160136 w 440369"/>
                  <a:gd name="connsiteY4" fmla="*/ 0 h 400335"/>
                  <a:gd name="connsiteX5" fmla="*/ 160136 w 440369"/>
                  <a:gd name="connsiteY5" fmla="*/ 32308 h 400335"/>
                  <a:gd name="connsiteX6" fmla="*/ 134159 w 440369"/>
                  <a:gd name="connsiteY6" fmla="*/ 69792 h 400335"/>
                  <a:gd name="connsiteX7" fmla="*/ 51954 w 440369"/>
                  <a:gd name="connsiteY7" fmla="*/ 100619 h 400335"/>
                  <a:gd name="connsiteX8" fmla="*/ 0 w 440369"/>
                  <a:gd name="connsiteY8" fmla="*/ 175588 h 400335"/>
                  <a:gd name="connsiteX9" fmla="*/ 0 w 440369"/>
                  <a:gd name="connsiteY9" fmla="*/ 360302 h 400335"/>
                  <a:gd name="connsiteX10" fmla="*/ 40033 w 440369"/>
                  <a:gd name="connsiteY10" fmla="*/ 400336 h 400335"/>
                  <a:gd name="connsiteX11" fmla="*/ 400336 w 440369"/>
                  <a:gd name="connsiteY11" fmla="*/ 400336 h 400335"/>
                  <a:gd name="connsiteX12" fmla="*/ 440369 w 440369"/>
                  <a:gd name="connsiteY12" fmla="*/ 360302 h 400335"/>
                  <a:gd name="connsiteX13" fmla="*/ 440369 w 440369"/>
                  <a:gd name="connsiteY13" fmla="*/ 175588 h 400335"/>
                  <a:gd name="connsiteX14" fmla="*/ 388415 w 440369"/>
                  <a:gd name="connsiteY14" fmla="*/ 100619 h 40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0369" h="400335">
                    <a:moveTo>
                      <a:pt x="388415" y="100619"/>
                    </a:moveTo>
                    <a:lnTo>
                      <a:pt x="306210" y="69792"/>
                    </a:lnTo>
                    <a:cubicBezTo>
                      <a:pt x="290586" y="63933"/>
                      <a:pt x="280233" y="48995"/>
                      <a:pt x="280233" y="32306"/>
                    </a:cubicBezTo>
                    <a:lnTo>
                      <a:pt x="280233" y="0"/>
                    </a:lnTo>
                    <a:lnTo>
                      <a:pt x="160136" y="0"/>
                    </a:lnTo>
                    <a:lnTo>
                      <a:pt x="160136" y="32308"/>
                    </a:lnTo>
                    <a:cubicBezTo>
                      <a:pt x="160136" y="48997"/>
                      <a:pt x="149783" y="63933"/>
                      <a:pt x="134159" y="69792"/>
                    </a:cubicBezTo>
                    <a:lnTo>
                      <a:pt x="51954" y="100619"/>
                    </a:lnTo>
                    <a:cubicBezTo>
                      <a:pt x="20703" y="112339"/>
                      <a:pt x="0" y="142213"/>
                      <a:pt x="0" y="175588"/>
                    </a:cubicBezTo>
                    <a:lnTo>
                      <a:pt x="0" y="360302"/>
                    </a:lnTo>
                    <a:cubicBezTo>
                      <a:pt x="0" y="382413"/>
                      <a:pt x="17925" y="400336"/>
                      <a:pt x="40033" y="400336"/>
                    </a:cubicBezTo>
                    <a:lnTo>
                      <a:pt x="400336" y="400336"/>
                    </a:lnTo>
                    <a:cubicBezTo>
                      <a:pt x="422447" y="400336"/>
                      <a:pt x="440369" y="382411"/>
                      <a:pt x="440369" y="360302"/>
                    </a:cubicBezTo>
                    <a:lnTo>
                      <a:pt x="440369" y="175588"/>
                    </a:lnTo>
                    <a:cubicBezTo>
                      <a:pt x="440369" y="142213"/>
                      <a:pt x="419666" y="112339"/>
                      <a:pt x="388415" y="100619"/>
                    </a:cubicBezTo>
                    <a:close/>
                  </a:path>
                </a:pathLst>
              </a:custGeom>
              <a:solidFill>
                <a:srgbClr val="FAD7A5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0" name="Forme libre : forme 209">
                <a:extLst>
                  <a:ext uri="{FF2B5EF4-FFF2-40B4-BE49-F238E27FC236}">
                    <a16:creationId xmlns:a16="http://schemas.microsoft.com/office/drawing/2014/main" id="{0D7B9FDA-AC80-9D8A-1520-EAA9E2DF4E67}"/>
                  </a:ext>
                </a:extLst>
              </p:cNvPr>
              <p:cNvSpPr/>
              <p:nvPr/>
            </p:nvSpPr>
            <p:spPr>
              <a:xfrm>
                <a:off x="1951729" y="2802055"/>
                <a:ext cx="127546" cy="60049"/>
              </a:xfrm>
              <a:custGeom>
                <a:avLst/>
                <a:gdLst>
                  <a:gd name="connsiteX0" fmla="*/ 63773 w 127546"/>
                  <a:gd name="connsiteY0" fmla="*/ 60050 h 60049"/>
                  <a:gd name="connsiteX1" fmla="*/ 127546 w 127546"/>
                  <a:gd name="connsiteY1" fmla="*/ 48175 h 60049"/>
                  <a:gd name="connsiteX2" fmla="*/ 123821 w 127546"/>
                  <a:gd name="connsiteY2" fmla="*/ 32306 h 60049"/>
                  <a:gd name="connsiteX3" fmla="*/ 123821 w 127546"/>
                  <a:gd name="connsiteY3" fmla="*/ 0 h 60049"/>
                  <a:gd name="connsiteX4" fmla="*/ 3723 w 127546"/>
                  <a:gd name="connsiteY4" fmla="*/ 0 h 60049"/>
                  <a:gd name="connsiteX5" fmla="*/ 3723 w 127546"/>
                  <a:gd name="connsiteY5" fmla="*/ 32308 h 60049"/>
                  <a:gd name="connsiteX6" fmla="*/ 0 w 127546"/>
                  <a:gd name="connsiteY6" fmla="*/ 48175 h 60049"/>
                  <a:gd name="connsiteX7" fmla="*/ 63773 w 127546"/>
                  <a:gd name="connsiteY7" fmla="*/ 60050 h 6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46" h="60049">
                    <a:moveTo>
                      <a:pt x="63773" y="60050"/>
                    </a:moveTo>
                    <a:cubicBezTo>
                      <a:pt x="86250" y="60050"/>
                      <a:pt x="107687" y="55728"/>
                      <a:pt x="127546" y="48175"/>
                    </a:cubicBezTo>
                    <a:cubicBezTo>
                      <a:pt x="125372" y="43214"/>
                      <a:pt x="123821" y="37954"/>
                      <a:pt x="123821" y="32306"/>
                    </a:cubicBezTo>
                    <a:lnTo>
                      <a:pt x="123821" y="0"/>
                    </a:lnTo>
                    <a:lnTo>
                      <a:pt x="3723" y="0"/>
                    </a:lnTo>
                    <a:lnTo>
                      <a:pt x="3723" y="32308"/>
                    </a:lnTo>
                    <a:cubicBezTo>
                      <a:pt x="3723" y="37956"/>
                      <a:pt x="2174" y="43211"/>
                      <a:pt x="0" y="48175"/>
                    </a:cubicBezTo>
                    <a:cubicBezTo>
                      <a:pt x="19857" y="55726"/>
                      <a:pt x="41296" y="60050"/>
                      <a:pt x="63773" y="60050"/>
                    </a:cubicBezTo>
                    <a:close/>
                  </a:path>
                </a:pathLst>
              </a:custGeom>
              <a:solidFill>
                <a:srgbClr val="F0C891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1" name="Forme libre : forme 210">
                <a:extLst>
                  <a:ext uri="{FF2B5EF4-FFF2-40B4-BE49-F238E27FC236}">
                    <a16:creationId xmlns:a16="http://schemas.microsoft.com/office/drawing/2014/main" id="{630D807F-15F5-0DBA-4634-1B9B6833CF0B}"/>
                  </a:ext>
                </a:extLst>
              </p:cNvPr>
              <p:cNvSpPr/>
              <p:nvPr/>
            </p:nvSpPr>
            <p:spPr>
              <a:xfrm>
                <a:off x="1795317" y="2873025"/>
                <a:ext cx="440369" cy="329365"/>
              </a:xfrm>
              <a:custGeom>
                <a:avLst/>
                <a:gdLst>
                  <a:gd name="connsiteX0" fmla="*/ 40033 w 440369"/>
                  <a:gd name="connsiteY0" fmla="*/ 329366 h 329365"/>
                  <a:gd name="connsiteX1" fmla="*/ 400336 w 440369"/>
                  <a:gd name="connsiteY1" fmla="*/ 329366 h 329365"/>
                  <a:gd name="connsiteX2" fmla="*/ 440369 w 440369"/>
                  <a:gd name="connsiteY2" fmla="*/ 289333 h 329365"/>
                  <a:gd name="connsiteX3" fmla="*/ 440369 w 440369"/>
                  <a:gd name="connsiteY3" fmla="*/ 104619 h 329365"/>
                  <a:gd name="connsiteX4" fmla="*/ 388415 w 440369"/>
                  <a:gd name="connsiteY4" fmla="*/ 29649 h 329365"/>
                  <a:gd name="connsiteX5" fmla="*/ 309352 w 440369"/>
                  <a:gd name="connsiteY5" fmla="*/ 0 h 329365"/>
                  <a:gd name="connsiteX6" fmla="*/ 248495 w 440369"/>
                  <a:gd name="connsiteY6" fmla="*/ 60857 h 329365"/>
                  <a:gd name="connsiteX7" fmla="*/ 191879 w 440369"/>
                  <a:gd name="connsiteY7" fmla="*/ 60857 h 329365"/>
                  <a:gd name="connsiteX8" fmla="*/ 131022 w 440369"/>
                  <a:gd name="connsiteY8" fmla="*/ 0 h 329365"/>
                  <a:gd name="connsiteX9" fmla="*/ 51957 w 440369"/>
                  <a:gd name="connsiteY9" fmla="*/ 29649 h 329365"/>
                  <a:gd name="connsiteX10" fmla="*/ 0 w 440369"/>
                  <a:gd name="connsiteY10" fmla="*/ 104616 h 329365"/>
                  <a:gd name="connsiteX11" fmla="*/ 0 w 440369"/>
                  <a:gd name="connsiteY11" fmla="*/ 289333 h 329365"/>
                  <a:gd name="connsiteX12" fmla="*/ 40033 w 440369"/>
                  <a:gd name="connsiteY12" fmla="*/ 329366 h 329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369" h="329365">
                    <a:moveTo>
                      <a:pt x="40033" y="329366"/>
                    </a:moveTo>
                    <a:lnTo>
                      <a:pt x="400336" y="329366"/>
                    </a:lnTo>
                    <a:cubicBezTo>
                      <a:pt x="422447" y="329366"/>
                      <a:pt x="440369" y="311441"/>
                      <a:pt x="440369" y="289333"/>
                    </a:cubicBezTo>
                    <a:lnTo>
                      <a:pt x="440369" y="104619"/>
                    </a:lnTo>
                    <a:cubicBezTo>
                      <a:pt x="440369" y="71244"/>
                      <a:pt x="419666" y="41369"/>
                      <a:pt x="388415" y="29649"/>
                    </a:cubicBezTo>
                    <a:lnTo>
                      <a:pt x="309352" y="0"/>
                    </a:lnTo>
                    <a:lnTo>
                      <a:pt x="248495" y="60857"/>
                    </a:lnTo>
                    <a:cubicBezTo>
                      <a:pt x="232860" y="76491"/>
                      <a:pt x="207514" y="76491"/>
                      <a:pt x="191879" y="60857"/>
                    </a:cubicBezTo>
                    <a:lnTo>
                      <a:pt x="131022" y="0"/>
                    </a:lnTo>
                    <a:lnTo>
                      <a:pt x="51957" y="29649"/>
                    </a:lnTo>
                    <a:cubicBezTo>
                      <a:pt x="20703" y="41367"/>
                      <a:pt x="0" y="71241"/>
                      <a:pt x="0" y="104616"/>
                    </a:cubicBezTo>
                    <a:lnTo>
                      <a:pt x="0" y="289333"/>
                    </a:lnTo>
                    <a:cubicBezTo>
                      <a:pt x="0" y="311441"/>
                      <a:pt x="17925" y="329366"/>
                      <a:pt x="40033" y="329366"/>
                    </a:cubicBezTo>
                    <a:close/>
                  </a:path>
                </a:pathLst>
              </a:custGeom>
              <a:solidFill>
                <a:srgbClr val="9258A2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2" name="Forme libre : forme 211">
                <a:extLst>
                  <a:ext uri="{FF2B5EF4-FFF2-40B4-BE49-F238E27FC236}">
                    <a16:creationId xmlns:a16="http://schemas.microsoft.com/office/drawing/2014/main" id="{590AFEF8-1DC0-B5A1-ADBC-09FEB090AA7D}"/>
                  </a:ext>
                </a:extLst>
              </p:cNvPr>
              <p:cNvSpPr/>
              <p:nvPr/>
            </p:nvSpPr>
            <p:spPr>
              <a:xfrm>
                <a:off x="1875383" y="2481789"/>
                <a:ext cx="280233" cy="340283"/>
              </a:xfrm>
              <a:custGeom>
                <a:avLst/>
                <a:gdLst>
                  <a:gd name="connsiteX0" fmla="*/ 140119 w 280233"/>
                  <a:gd name="connsiteY0" fmla="*/ 340283 h 340283"/>
                  <a:gd name="connsiteX1" fmla="*/ 140119 w 280233"/>
                  <a:gd name="connsiteY1" fmla="*/ 340283 h 340283"/>
                  <a:gd name="connsiteX2" fmla="*/ 0 w 280233"/>
                  <a:gd name="connsiteY2" fmla="*/ 200167 h 340283"/>
                  <a:gd name="connsiteX3" fmla="*/ 0 w 280233"/>
                  <a:gd name="connsiteY3" fmla="*/ 140117 h 340283"/>
                  <a:gd name="connsiteX4" fmla="*/ 140117 w 280233"/>
                  <a:gd name="connsiteY4" fmla="*/ 0 h 340283"/>
                  <a:gd name="connsiteX5" fmla="*/ 140117 w 280233"/>
                  <a:gd name="connsiteY5" fmla="*/ 0 h 340283"/>
                  <a:gd name="connsiteX6" fmla="*/ 280233 w 280233"/>
                  <a:gd name="connsiteY6" fmla="*/ 140117 h 340283"/>
                  <a:gd name="connsiteX7" fmla="*/ 280233 w 280233"/>
                  <a:gd name="connsiteY7" fmla="*/ 200167 h 340283"/>
                  <a:gd name="connsiteX8" fmla="*/ 140119 w 280233"/>
                  <a:gd name="connsiteY8" fmla="*/ 340283 h 34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0233" h="340283">
                    <a:moveTo>
                      <a:pt x="140119" y="340283"/>
                    </a:moveTo>
                    <a:lnTo>
                      <a:pt x="140119" y="340283"/>
                    </a:lnTo>
                    <a:cubicBezTo>
                      <a:pt x="62733" y="340283"/>
                      <a:pt x="0" y="277550"/>
                      <a:pt x="0" y="200167"/>
                    </a:cubicBezTo>
                    <a:lnTo>
                      <a:pt x="0" y="140117"/>
                    </a:lnTo>
                    <a:cubicBezTo>
                      <a:pt x="0" y="62731"/>
                      <a:pt x="62733" y="0"/>
                      <a:pt x="140117" y="0"/>
                    </a:cubicBezTo>
                    <a:lnTo>
                      <a:pt x="140117" y="0"/>
                    </a:lnTo>
                    <a:cubicBezTo>
                      <a:pt x="217502" y="0"/>
                      <a:pt x="280233" y="62733"/>
                      <a:pt x="280233" y="140117"/>
                    </a:cubicBezTo>
                    <a:lnTo>
                      <a:pt x="280233" y="200167"/>
                    </a:lnTo>
                    <a:cubicBezTo>
                      <a:pt x="280236" y="277550"/>
                      <a:pt x="217502" y="340283"/>
                      <a:pt x="140119" y="340283"/>
                    </a:cubicBezTo>
                    <a:close/>
                  </a:path>
                </a:pathLst>
              </a:custGeom>
              <a:solidFill>
                <a:srgbClr val="FFE1B4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3" name="Forme libre : forme 212">
                <a:extLst>
                  <a:ext uri="{FF2B5EF4-FFF2-40B4-BE49-F238E27FC236}">
                    <a16:creationId xmlns:a16="http://schemas.microsoft.com/office/drawing/2014/main" id="{494088E4-36EF-D2BA-7510-F7EAB13A61A3}"/>
                  </a:ext>
                </a:extLst>
              </p:cNvPr>
              <p:cNvSpPr/>
              <p:nvPr/>
            </p:nvSpPr>
            <p:spPr>
              <a:xfrm>
                <a:off x="1875383" y="2481786"/>
                <a:ext cx="180152" cy="340285"/>
              </a:xfrm>
              <a:custGeom>
                <a:avLst/>
                <a:gdLst>
                  <a:gd name="connsiteX0" fmla="*/ 80069 w 180152"/>
                  <a:gd name="connsiteY0" fmla="*/ 200167 h 340285"/>
                  <a:gd name="connsiteX1" fmla="*/ 80069 w 180152"/>
                  <a:gd name="connsiteY1" fmla="*/ 140117 h 340285"/>
                  <a:gd name="connsiteX2" fmla="*/ 180152 w 180152"/>
                  <a:gd name="connsiteY2" fmla="*/ 5878 h 340285"/>
                  <a:gd name="connsiteX3" fmla="*/ 140119 w 180152"/>
                  <a:gd name="connsiteY3" fmla="*/ 0 h 340285"/>
                  <a:gd name="connsiteX4" fmla="*/ 0 w 180152"/>
                  <a:gd name="connsiteY4" fmla="*/ 140119 h 340285"/>
                  <a:gd name="connsiteX5" fmla="*/ 0 w 180152"/>
                  <a:gd name="connsiteY5" fmla="*/ 200169 h 340285"/>
                  <a:gd name="connsiteX6" fmla="*/ 140119 w 180152"/>
                  <a:gd name="connsiteY6" fmla="*/ 340286 h 340285"/>
                  <a:gd name="connsiteX7" fmla="*/ 180152 w 180152"/>
                  <a:gd name="connsiteY7" fmla="*/ 334408 h 340285"/>
                  <a:gd name="connsiteX8" fmla="*/ 80069 w 180152"/>
                  <a:gd name="connsiteY8" fmla="*/ 200167 h 34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152" h="340285">
                    <a:moveTo>
                      <a:pt x="80069" y="200167"/>
                    </a:moveTo>
                    <a:lnTo>
                      <a:pt x="80069" y="140117"/>
                    </a:lnTo>
                    <a:cubicBezTo>
                      <a:pt x="80069" y="76654"/>
                      <a:pt x="122289" y="23112"/>
                      <a:pt x="180152" y="5878"/>
                    </a:cubicBezTo>
                    <a:cubicBezTo>
                      <a:pt x="167461" y="2099"/>
                      <a:pt x="154040" y="0"/>
                      <a:pt x="140119" y="0"/>
                    </a:cubicBezTo>
                    <a:cubicBezTo>
                      <a:pt x="62736" y="0"/>
                      <a:pt x="0" y="62733"/>
                      <a:pt x="0" y="140119"/>
                    </a:cubicBezTo>
                    <a:lnTo>
                      <a:pt x="0" y="200169"/>
                    </a:lnTo>
                    <a:cubicBezTo>
                      <a:pt x="0" y="277552"/>
                      <a:pt x="62733" y="340286"/>
                      <a:pt x="140119" y="340286"/>
                    </a:cubicBezTo>
                    <a:cubicBezTo>
                      <a:pt x="154040" y="340286"/>
                      <a:pt x="167461" y="338187"/>
                      <a:pt x="180152" y="334408"/>
                    </a:cubicBezTo>
                    <a:cubicBezTo>
                      <a:pt x="122286" y="317171"/>
                      <a:pt x="80069" y="263630"/>
                      <a:pt x="80069" y="200167"/>
                    </a:cubicBezTo>
                    <a:close/>
                  </a:path>
                </a:pathLst>
              </a:custGeom>
              <a:solidFill>
                <a:srgbClr val="FAD7A5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214" name="Graphique 731">
                <a:extLst>
                  <a:ext uri="{FF2B5EF4-FFF2-40B4-BE49-F238E27FC236}">
                    <a16:creationId xmlns:a16="http://schemas.microsoft.com/office/drawing/2014/main" id="{DC82FB92-F8D6-DB49-8FC7-C49CAD2E2B1B}"/>
                  </a:ext>
                </a:extLst>
              </p:cNvPr>
              <p:cNvGrpSpPr/>
              <p:nvPr/>
            </p:nvGrpSpPr>
            <p:grpSpPr>
              <a:xfrm>
                <a:off x="1795317" y="2934794"/>
                <a:ext cx="440370" cy="267597"/>
                <a:chOff x="1795317" y="2934794"/>
                <a:chExt cx="440370" cy="267597"/>
              </a:xfrm>
              <a:solidFill>
                <a:srgbClr val="867E88"/>
              </a:solidFill>
            </p:grpSpPr>
            <p:sp>
              <p:nvSpPr>
                <p:cNvPr id="232" name="Forme libre : forme 231">
                  <a:extLst>
                    <a:ext uri="{FF2B5EF4-FFF2-40B4-BE49-F238E27FC236}">
                      <a16:creationId xmlns:a16="http://schemas.microsoft.com/office/drawing/2014/main" id="{012136E8-30D5-0B56-B35C-02BFA48CF034}"/>
                    </a:ext>
                  </a:extLst>
                </p:cNvPr>
                <p:cNvSpPr/>
                <p:nvPr/>
              </p:nvSpPr>
              <p:spPr>
                <a:xfrm>
                  <a:off x="1795317" y="2934794"/>
                  <a:ext cx="80066" cy="267597"/>
                </a:xfrm>
                <a:custGeom>
                  <a:avLst/>
                  <a:gdLst>
                    <a:gd name="connsiteX0" fmla="*/ 62479 w 80066"/>
                    <a:gd name="connsiteY0" fmla="*/ 49841 h 267597"/>
                    <a:gd name="connsiteX1" fmla="*/ 12638 w 80066"/>
                    <a:gd name="connsiteY1" fmla="*/ 0 h 267597"/>
                    <a:gd name="connsiteX2" fmla="*/ 0 w 80066"/>
                    <a:gd name="connsiteY2" fmla="*/ 42848 h 267597"/>
                    <a:gd name="connsiteX3" fmla="*/ 0 w 80066"/>
                    <a:gd name="connsiteY3" fmla="*/ 227564 h 267597"/>
                    <a:gd name="connsiteX4" fmla="*/ 40033 w 80066"/>
                    <a:gd name="connsiteY4" fmla="*/ 267597 h 267597"/>
                    <a:gd name="connsiteX5" fmla="*/ 80067 w 80066"/>
                    <a:gd name="connsiteY5" fmla="*/ 267597 h 267597"/>
                    <a:gd name="connsiteX6" fmla="*/ 80067 w 80066"/>
                    <a:gd name="connsiteY6" fmla="*/ 92303 h 267597"/>
                    <a:gd name="connsiteX7" fmla="*/ 62479 w 80066"/>
                    <a:gd name="connsiteY7" fmla="*/ 49841 h 267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066" h="267597">
                      <a:moveTo>
                        <a:pt x="62479" y="49841"/>
                      </a:moveTo>
                      <a:lnTo>
                        <a:pt x="12638" y="0"/>
                      </a:lnTo>
                      <a:cubicBezTo>
                        <a:pt x="4656" y="12558"/>
                        <a:pt x="0" y="27276"/>
                        <a:pt x="0" y="42848"/>
                      </a:cubicBezTo>
                      <a:lnTo>
                        <a:pt x="0" y="227564"/>
                      </a:lnTo>
                      <a:cubicBezTo>
                        <a:pt x="0" y="249673"/>
                        <a:pt x="17925" y="267597"/>
                        <a:pt x="40033" y="267597"/>
                      </a:cubicBezTo>
                      <a:lnTo>
                        <a:pt x="80067" y="267597"/>
                      </a:lnTo>
                      <a:lnTo>
                        <a:pt x="80067" y="92303"/>
                      </a:lnTo>
                      <a:cubicBezTo>
                        <a:pt x="80067" y="76375"/>
                        <a:pt x="73740" y="61102"/>
                        <a:pt x="62479" y="49841"/>
                      </a:cubicBezTo>
                      <a:close/>
                    </a:path>
                  </a:pathLst>
                </a:custGeom>
                <a:solidFill>
                  <a:srgbClr val="582974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33" name="Forme libre : forme 232">
                  <a:extLst>
                    <a:ext uri="{FF2B5EF4-FFF2-40B4-BE49-F238E27FC236}">
                      <a16:creationId xmlns:a16="http://schemas.microsoft.com/office/drawing/2014/main" id="{71A177DC-785A-F44C-2A40-86B623F9ACC5}"/>
                    </a:ext>
                  </a:extLst>
                </p:cNvPr>
                <p:cNvSpPr/>
                <p:nvPr/>
              </p:nvSpPr>
              <p:spPr>
                <a:xfrm>
                  <a:off x="2155621" y="2934794"/>
                  <a:ext cx="80066" cy="267597"/>
                </a:xfrm>
                <a:custGeom>
                  <a:avLst/>
                  <a:gdLst>
                    <a:gd name="connsiteX0" fmla="*/ 17585 w 80066"/>
                    <a:gd name="connsiteY0" fmla="*/ 49841 h 267597"/>
                    <a:gd name="connsiteX1" fmla="*/ 67428 w 80066"/>
                    <a:gd name="connsiteY1" fmla="*/ 0 h 267597"/>
                    <a:gd name="connsiteX2" fmla="*/ 80067 w 80066"/>
                    <a:gd name="connsiteY2" fmla="*/ 42848 h 267597"/>
                    <a:gd name="connsiteX3" fmla="*/ 80067 w 80066"/>
                    <a:gd name="connsiteY3" fmla="*/ 227564 h 267597"/>
                    <a:gd name="connsiteX4" fmla="*/ 40033 w 80066"/>
                    <a:gd name="connsiteY4" fmla="*/ 267597 h 267597"/>
                    <a:gd name="connsiteX5" fmla="*/ 0 w 80066"/>
                    <a:gd name="connsiteY5" fmla="*/ 267597 h 267597"/>
                    <a:gd name="connsiteX6" fmla="*/ 0 w 80066"/>
                    <a:gd name="connsiteY6" fmla="*/ 92303 h 267597"/>
                    <a:gd name="connsiteX7" fmla="*/ 17585 w 80066"/>
                    <a:gd name="connsiteY7" fmla="*/ 49841 h 267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066" h="267597">
                      <a:moveTo>
                        <a:pt x="17585" y="49841"/>
                      </a:moveTo>
                      <a:lnTo>
                        <a:pt x="67428" y="0"/>
                      </a:lnTo>
                      <a:cubicBezTo>
                        <a:pt x="75410" y="12558"/>
                        <a:pt x="80067" y="27276"/>
                        <a:pt x="80067" y="42848"/>
                      </a:cubicBezTo>
                      <a:lnTo>
                        <a:pt x="80067" y="227564"/>
                      </a:lnTo>
                      <a:cubicBezTo>
                        <a:pt x="80067" y="249673"/>
                        <a:pt x="62142" y="267597"/>
                        <a:pt x="40033" y="267597"/>
                      </a:cubicBezTo>
                      <a:lnTo>
                        <a:pt x="0" y="267597"/>
                      </a:lnTo>
                      <a:lnTo>
                        <a:pt x="0" y="92303"/>
                      </a:lnTo>
                      <a:cubicBezTo>
                        <a:pt x="-2" y="76375"/>
                        <a:pt x="6324" y="61102"/>
                        <a:pt x="17585" y="49841"/>
                      </a:cubicBezTo>
                      <a:close/>
                    </a:path>
                  </a:pathLst>
                </a:custGeom>
                <a:solidFill>
                  <a:srgbClr val="582974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34" name="Forme libre : forme 233">
                  <a:extLst>
                    <a:ext uri="{FF2B5EF4-FFF2-40B4-BE49-F238E27FC236}">
                      <a16:creationId xmlns:a16="http://schemas.microsoft.com/office/drawing/2014/main" id="{DCD698A2-0E24-B465-619F-7BA16D839646}"/>
                    </a:ext>
                  </a:extLst>
                </p:cNvPr>
                <p:cNvSpPr/>
                <p:nvPr/>
              </p:nvSpPr>
              <p:spPr>
                <a:xfrm>
                  <a:off x="1995486" y="2940068"/>
                  <a:ext cx="40033" cy="262323"/>
                </a:xfrm>
                <a:custGeom>
                  <a:avLst/>
                  <a:gdLst>
                    <a:gd name="connsiteX0" fmla="*/ 0 w 40033"/>
                    <a:gd name="connsiteY0" fmla="*/ 0 h 262323"/>
                    <a:gd name="connsiteX1" fmla="*/ 0 w 40033"/>
                    <a:gd name="connsiteY1" fmla="*/ 262323 h 262323"/>
                    <a:gd name="connsiteX2" fmla="*/ 40033 w 40033"/>
                    <a:gd name="connsiteY2" fmla="*/ 262323 h 262323"/>
                    <a:gd name="connsiteX3" fmla="*/ 40033 w 40033"/>
                    <a:gd name="connsiteY3" fmla="*/ 0 h 262323"/>
                    <a:gd name="connsiteX4" fmla="*/ 0 w 40033"/>
                    <a:gd name="connsiteY4" fmla="*/ 0 h 262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033" h="262323">
                      <a:moveTo>
                        <a:pt x="0" y="0"/>
                      </a:moveTo>
                      <a:lnTo>
                        <a:pt x="0" y="262323"/>
                      </a:lnTo>
                      <a:lnTo>
                        <a:pt x="40033" y="262323"/>
                      </a:lnTo>
                      <a:lnTo>
                        <a:pt x="40033" y="0"/>
                      </a:lnTo>
                      <a:cubicBezTo>
                        <a:pt x="27657" y="7185"/>
                        <a:pt x="12374" y="7185"/>
                        <a:pt x="0" y="0"/>
                      </a:cubicBezTo>
                      <a:close/>
                    </a:path>
                  </a:pathLst>
                </a:custGeom>
                <a:solidFill>
                  <a:srgbClr val="582974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215" name="Forme libre : forme 214">
                <a:extLst>
                  <a:ext uri="{FF2B5EF4-FFF2-40B4-BE49-F238E27FC236}">
                    <a16:creationId xmlns:a16="http://schemas.microsoft.com/office/drawing/2014/main" id="{EFF76CA6-96DE-DA8A-8813-9C3324B928AB}"/>
                  </a:ext>
                </a:extLst>
              </p:cNvPr>
              <p:cNvSpPr/>
              <p:nvPr/>
            </p:nvSpPr>
            <p:spPr>
              <a:xfrm>
                <a:off x="1935443" y="2401732"/>
                <a:ext cx="160123" cy="160123"/>
              </a:xfrm>
              <a:custGeom>
                <a:avLst/>
                <a:gdLst>
                  <a:gd name="connsiteX0" fmla="*/ 160124 w 160123"/>
                  <a:gd name="connsiteY0" fmla="*/ 80062 h 160123"/>
                  <a:gd name="connsiteX1" fmla="*/ 80062 w 160123"/>
                  <a:gd name="connsiteY1" fmla="*/ 160124 h 160123"/>
                  <a:gd name="connsiteX2" fmla="*/ 0 w 160123"/>
                  <a:gd name="connsiteY2" fmla="*/ 80062 h 160123"/>
                  <a:gd name="connsiteX3" fmla="*/ 80062 w 160123"/>
                  <a:gd name="connsiteY3" fmla="*/ 0 h 160123"/>
                  <a:gd name="connsiteX4" fmla="*/ 160124 w 160123"/>
                  <a:gd name="connsiteY4" fmla="*/ 80062 h 160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123" h="160123">
                    <a:moveTo>
                      <a:pt x="160124" y="80062"/>
                    </a:moveTo>
                    <a:cubicBezTo>
                      <a:pt x="160124" y="124279"/>
                      <a:pt x="124279" y="160124"/>
                      <a:pt x="80062" y="160124"/>
                    </a:cubicBezTo>
                    <a:cubicBezTo>
                      <a:pt x="35845" y="160124"/>
                      <a:pt x="0" y="124279"/>
                      <a:pt x="0" y="80062"/>
                    </a:cubicBezTo>
                    <a:cubicBezTo>
                      <a:pt x="0" y="35845"/>
                      <a:pt x="35845" y="0"/>
                      <a:pt x="80062" y="0"/>
                    </a:cubicBezTo>
                    <a:cubicBezTo>
                      <a:pt x="124279" y="0"/>
                      <a:pt x="160124" y="35845"/>
                      <a:pt x="160124" y="80062"/>
                    </a:cubicBezTo>
                    <a:close/>
                  </a:path>
                </a:pathLst>
              </a:custGeom>
              <a:solidFill>
                <a:srgbClr val="DEAF73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6" name="Forme libre : forme 215">
                <a:extLst>
                  <a:ext uri="{FF2B5EF4-FFF2-40B4-BE49-F238E27FC236}">
                    <a16:creationId xmlns:a16="http://schemas.microsoft.com/office/drawing/2014/main" id="{66113586-0126-D898-FB20-4EF180582266}"/>
                  </a:ext>
                </a:extLst>
              </p:cNvPr>
              <p:cNvSpPr/>
              <p:nvPr/>
            </p:nvSpPr>
            <p:spPr>
              <a:xfrm>
                <a:off x="1875383" y="2481789"/>
                <a:ext cx="280235" cy="185034"/>
              </a:xfrm>
              <a:custGeom>
                <a:avLst/>
                <a:gdLst>
                  <a:gd name="connsiteX0" fmla="*/ 0 w 280235"/>
                  <a:gd name="connsiteY0" fmla="*/ 140114 h 185034"/>
                  <a:gd name="connsiteX1" fmla="*/ 0 w 280235"/>
                  <a:gd name="connsiteY1" fmla="*/ 185034 h 185034"/>
                  <a:gd name="connsiteX2" fmla="*/ 70107 w 280235"/>
                  <a:gd name="connsiteY2" fmla="*/ 133332 h 185034"/>
                  <a:gd name="connsiteX3" fmla="*/ 94773 w 280235"/>
                  <a:gd name="connsiteY3" fmla="*/ 129260 h 185034"/>
                  <a:gd name="connsiteX4" fmla="*/ 280236 w 280235"/>
                  <a:gd name="connsiteY4" fmla="*/ 178708 h 185034"/>
                  <a:gd name="connsiteX5" fmla="*/ 280236 w 280235"/>
                  <a:gd name="connsiteY5" fmla="*/ 140117 h 185034"/>
                  <a:gd name="connsiteX6" fmla="*/ 140119 w 280235"/>
                  <a:gd name="connsiteY6" fmla="*/ 0 h 185034"/>
                  <a:gd name="connsiteX7" fmla="*/ 140119 w 280235"/>
                  <a:gd name="connsiteY7" fmla="*/ 0 h 185034"/>
                  <a:gd name="connsiteX8" fmla="*/ 0 w 280235"/>
                  <a:gd name="connsiteY8" fmla="*/ 140114 h 185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0235" h="185034">
                    <a:moveTo>
                      <a:pt x="0" y="140114"/>
                    </a:moveTo>
                    <a:lnTo>
                      <a:pt x="0" y="185034"/>
                    </a:lnTo>
                    <a:cubicBezTo>
                      <a:pt x="22172" y="174534"/>
                      <a:pt x="49329" y="157971"/>
                      <a:pt x="70107" y="133332"/>
                    </a:cubicBezTo>
                    <a:cubicBezTo>
                      <a:pt x="76179" y="126133"/>
                      <a:pt x="86563" y="124647"/>
                      <a:pt x="94773" y="129260"/>
                    </a:cubicBezTo>
                    <a:cubicBezTo>
                      <a:pt x="121162" y="144085"/>
                      <a:pt x="183039" y="172318"/>
                      <a:pt x="280236" y="178708"/>
                    </a:cubicBezTo>
                    <a:lnTo>
                      <a:pt x="280236" y="140117"/>
                    </a:lnTo>
                    <a:cubicBezTo>
                      <a:pt x="280236" y="62731"/>
                      <a:pt x="217502" y="0"/>
                      <a:pt x="140119" y="0"/>
                    </a:cubicBezTo>
                    <a:lnTo>
                      <a:pt x="140119" y="0"/>
                    </a:lnTo>
                    <a:cubicBezTo>
                      <a:pt x="62733" y="-5"/>
                      <a:pt x="0" y="62728"/>
                      <a:pt x="0" y="140114"/>
                    </a:cubicBezTo>
                    <a:close/>
                  </a:path>
                </a:pathLst>
              </a:custGeom>
              <a:solidFill>
                <a:srgbClr val="D59F63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7" name="Forme libre : forme 216">
                <a:extLst>
                  <a:ext uri="{FF2B5EF4-FFF2-40B4-BE49-F238E27FC236}">
                    <a16:creationId xmlns:a16="http://schemas.microsoft.com/office/drawing/2014/main" id="{3D2E6583-3A86-EC3E-C6EA-B03C65077385}"/>
                  </a:ext>
                </a:extLst>
              </p:cNvPr>
              <p:cNvSpPr/>
              <p:nvPr/>
            </p:nvSpPr>
            <p:spPr>
              <a:xfrm>
                <a:off x="1875383" y="2504595"/>
                <a:ext cx="82289" cy="162227"/>
              </a:xfrm>
              <a:custGeom>
                <a:avLst/>
                <a:gdLst>
                  <a:gd name="connsiteX0" fmla="*/ 63623 w 82289"/>
                  <a:gd name="connsiteY0" fmla="*/ 0 h 162227"/>
                  <a:gd name="connsiteX1" fmla="*/ 0 w 82289"/>
                  <a:gd name="connsiteY1" fmla="*/ 117308 h 162227"/>
                  <a:gd name="connsiteX2" fmla="*/ 0 w 82289"/>
                  <a:gd name="connsiteY2" fmla="*/ 162228 h 162227"/>
                  <a:gd name="connsiteX3" fmla="*/ 70107 w 82289"/>
                  <a:gd name="connsiteY3" fmla="*/ 110526 h 162227"/>
                  <a:gd name="connsiteX4" fmla="*/ 82289 w 82289"/>
                  <a:gd name="connsiteY4" fmla="*/ 104068 h 162227"/>
                  <a:gd name="connsiteX5" fmla="*/ 63623 w 82289"/>
                  <a:gd name="connsiteY5" fmla="*/ 0 h 162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2289" h="162227">
                    <a:moveTo>
                      <a:pt x="63623" y="0"/>
                    </a:moveTo>
                    <a:cubicBezTo>
                      <a:pt x="25344" y="25012"/>
                      <a:pt x="0" y="68170"/>
                      <a:pt x="0" y="117308"/>
                    </a:cubicBezTo>
                    <a:lnTo>
                      <a:pt x="0" y="162228"/>
                    </a:lnTo>
                    <a:cubicBezTo>
                      <a:pt x="22172" y="151727"/>
                      <a:pt x="49329" y="135165"/>
                      <a:pt x="70107" y="110526"/>
                    </a:cubicBezTo>
                    <a:cubicBezTo>
                      <a:pt x="73292" y="106749"/>
                      <a:pt x="77669" y="104645"/>
                      <a:pt x="82289" y="104068"/>
                    </a:cubicBezTo>
                    <a:cubicBezTo>
                      <a:pt x="67462" y="75888"/>
                      <a:pt x="55881" y="39139"/>
                      <a:pt x="63623" y="0"/>
                    </a:cubicBezTo>
                    <a:close/>
                  </a:path>
                </a:pathLst>
              </a:custGeom>
              <a:solidFill>
                <a:srgbClr val="CD915A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8" name="Forme libre : forme 217">
                <a:extLst>
                  <a:ext uri="{FF2B5EF4-FFF2-40B4-BE49-F238E27FC236}">
                    <a16:creationId xmlns:a16="http://schemas.microsoft.com/office/drawing/2014/main" id="{52AC083F-C64C-D030-3A02-922EFD605A99}"/>
                  </a:ext>
                </a:extLst>
              </p:cNvPr>
              <p:cNvSpPr/>
              <p:nvPr/>
            </p:nvSpPr>
            <p:spPr>
              <a:xfrm>
                <a:off x="2515924" y="2701970"/>
                <a:ext cx="520435" cy="500421"/>
              </a:xfrm>
              <a:custGeom>
                <a:avLst/>
                <a:gdLst>
                  <a:gd name="connsiteX0" fmla="*/ 472886 w 520435"/>
                  <a:gd name="connsiteY0" fmla="*/ 165645 h 500421"/>
                  <a:gd name="connsiteX1" fmla="*/ 364060 w 520435"/>
                  <a:gd name="connsiteY1" fmla="*/ 115262 h 500421"/>
                  <a:gd name="connsiteX2" fmla="*/ 340283 w 520435"/>
                  <a:gd name="connsiteY2" fmla="*/ 77153 h 500421"/>
                  <a:gd name="connsiteX3" fmla="*/ 340283 w 520435"/>
                  <a:gd name="connsiteY3" fmla="*/ 0 h 500421"/>
                  <a:gd name="connsiteX4" fmla="*/ 180150 w 520435"/>
                  <a:gd name="connsiteY4" fmla="*/ 2 h 500421"/>
                  <a:gd name="connsiteX5" fmla="*/ 180150 w 520435"/>
                  <a:gd name="connsiteY5" fmla="*/ 77156 h 500421"/>
                  <a:gd name="connsiteX6" fmla="*/ 156376 w 520435"/>
                  <a:gd name="connsiteY6" fmla="*/ 115262 h 500421"/>
                  <a:gd name="connsiteX7" fmla="*/ 47548 w 520435"/>
                  <a:gd name="connsiteY7" fmla="*/ 165645 h 500421"/>
                  <a:gd name="connsiteX8" fmla="*/ 0 w 520435"/>
                  <a:gd name="connsiteY8" fmla="*/ 241860 h 500421"/>
                  <a:gd name="connsiteX9" fmla="*/ 0 w 520435"/>
                  <a:gd name="connsiteY9" fmla="*/ 458721 h 500421"/>
                  <a:gd name="connsiteX10" fmla="*/ 40033 w 520435"/>
                  <a:gd name="connsiteY10" fmla="*/ 500422 h 500421"/>
                  <a:gd name="connsiteX11" fmla="*/ 480402 w 520435"/>
                  <a:gd name="connsiteY11" fmla="*/ 500422 h 500421"/>
                  <a:gd name="connsiteX12" fmla="*/ 520436 w 520435"/>
                  <a:gd name="connsiteY12" fmla="*/ 458721 h 500421"/>
                  <a:gd name="connsiteX13" fmla="*/ 520436 w 520435"/>
                  <a:gd name="connsiteY13" fmla="*/ 241863 h 500421"/>
                  <a:gd name="connsiteX14" fmla="*/ 472886 w 520435"/>
                  <a:gd name="connsiteY14" fmla="*/ 165645 h 500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0435" h="500421">
                    <a:moveTo>
                      <a:pt x="472886" y="165645"/>
                    </a:moveTo>
                    <a:lnTo>
                      <a:pt x="364060" y="115262"/>
                    </a:lnTo>
                    <a:cubicBezTo>
                      <a:pt x="349601" y="108569"/>
                      <a:pt x="340283" y="93633"/>
                      <a:pt x="340283" y="77153"/>
                    </a:cubicBezTo>
                    <a:lnTo>
                      <a:pt x="340283" y="0"/>
                    </a:lnTo>
                    <a:lnTo>
                      <a:pt x="180150" y="2"/>
                    </a:lnTo>
                    <a:lnTo>
                      <a:pt x="180150" y="77156"/>
                    </a:lnTo>
                    <a:cubicBezTo>
                      <a:pt x="180150" y="93636"/>
                      <a:pt x="170833" y="108569"/>
                      <a:pt x="156376" y="115262"/>
                    </a:cubicBezTo>
                    <a:lnTo>
                      <a:pt x="47548" y="165645"/>
                    </a:lnTo>
                    <a:cubicBezTo>
                      <a:pt x="18633" y="179033"/>
                      <a:pt x="0" y="208900"/>
                      <a:pt x="0" y="241860"/>
                    </a:cubicBezTo>
                    <a:lnTo>
                      <a:pt x="0" y="458721"/>
                    </a:lnTo>
                    <a:cubicBezTo>
                      <a:pt x="0" y="481753"/>
                      <a:pt x="17925" y="500422"/>
                      <a:pt x="40033" y="500422"/>
                    </a:cubicBezTo>
                    <a:lnTo>
                      <a:pt x="480402" y="500422"/>
                    </a:lnTo>
                    <a:cubicBezTo>
                      <a:pt x="502513" y="500422"/>
                      <a:pt x="520436" y="481750"/>
                      <a:pt x="520436" y="458721"/>
                    </a:cubicBezTo>
                    <a:lnTo>
                      <a:pt x="520436" y="241863"/>
                    </a:lnTo>
                    <a:cubicBezTo>
                      <a:pt x="520436" y="208900"/>
                      <a:pt x="501801" y="179033"/>
                      <a:pt x="472886" y="165645"/>
                    </a:cubicBezTo>
                    <a:close/>
                  </a:path>
                </a:pathLst>
              </a:custGeom>
              <a:solidFill>
                <a:srgbClr val="B48764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9" name="Forme libre : forme 218">
                <a:extLst>
                  <a:ext uri="{FF2B5EF4-FFF2-40B4-BE49-F238E27FC236}">
                    <a16:creationId xmlns:a16="http://schemas.microsoft.com/office/drawing/2014/main" id="{097737AF-3959-D69D-C77D-F93CB35A7161}"/>
                  </a:ext>
                </a:extLst>
              </p:cNvPr>
              <p:cNvSpPr/>
              <p:nvPr/>
            </p:nvSpPr>
            <p:spPr>
              <a:xfrm>
                <a:off x="2515924" y="2817573"/>
                <a:ext cx="520435" cy="384817"/>
              </a:xfrm>
              <a:custGeom>
                <a:avLst/>
                <a:gdLst>
                  <a:gd name="connsiteX0" fmla="*/ 40033 w 520435"/>
                  <a:gd name="connsiteY0" fmla="*/ 384818 h 384817"/>
                  <a:gd name="connsiteX1" fmla="*/ 480402 w 520435"/>
                  <a:gd name="connsiteY1" fmla="*/ 384818 h 384817"/>
                  <a:gd name="connsiteX2" fmla="*/ 520436 w 520435"/>
                  <a:gd name="connsiteY2" fmla="*/ 343117 h 384817"/>
                  <a:gd name="connsiteX3" fmla="*/ 520436 w 520435"/>
                  <a:gd name="connsiteY3" fmla="*/ 126259 h 384817"/>
                  <a:gd name="connsiteX4" fmla="*/ 472886 w 520435"/>
                  <a:gd name="connsiteY4" fmla="*/ 50042 h 384817"/>
                  <a:gd name="connsiteX5" fmla="*/ 364799 w 520435"/>
                  <a:gd name="connsiteY5" fmla="*/ 2 h 384817"/>
                  <a:gd name="connsiteX6" fmla="*/ 288526 w 520435"/>
                  <a:gd name="connsiteY6" fmla="*/ 76276 h 384817"/>
                  <a:gd name="connsiteX7" fmla="*/ 231910 w 520435"/>
                  <a:gd name="connsiteY7" fmla="*/ 76276 h 384817"/>
                  <a:gd name="connsiteX8" fmla="*/ 155637 w 520435"/>
                  <a:gd name="connsiteY8" fmla="*/ 0 h 384817"/>
                  <a:gd name="connsiteX9" fmla="*/ 47548 w 520435"/>
                  <a:gd name="connsiteY9" fmla="*/ 50042 h 384817"/>
                  <a:gd name="connsiteX10" fmla="*/ 0 w 520435"/>
                  <a:gd name="connsiteY10" fmla="*/ 126257 h 384817"/>
                  <a:gd name="connsiteX11" fmla="*/ 0 w 520435"/>
                  <a:gd name="connsiteY11" fmla="*/ 343117 h 384817"/>
                  <a:gd name="connsiteX12" fmla="*/ 40033 w 520435"/>
                  <a:gd name="connsiteY12" fmla="*/ 384818 h 384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0435" h="384817">
                    <a:moveTo>
                      <a:pt x="40033" y="384818"/>
                    </a:moveTo>
                    <a:lnTo>
                      <a:pt x="480402" y="384818"/>
                    </a:lnTo>
                    <a:cubicBezTo>
                      <a:pt x="502511" y="384818"/>
                      <a:pt x="520436" y="366146"/>
                      <a:pt x="520436" y="343117"/>
                    </a:cubicBezTo>
                    <a:lnTo>
                      <a:pt x="520436" y="126259"/>
                    </a:lnTo>
                    <a:cubicBezTo>
                      <a:pt x="520436" y="93299"/>
                      <a:pt x="501801" y="63429"/>
                      <a:pt x="472886" y="50042"/>
                    </a:cubicBezTo>
                    <a:lnTo>
                      <a:pt x="364799" y="2"/>
                    </a:lnTo>
                    <a:lnTo>
                      <a:pt x="288526" y="76276"/>
                    </a:lnTo>
                    <a:cubicBezTo>
                      <a:pt x="272891" y="91910"/>
                      <a:pt x="247544" y="91910"/>
                      <a:pt x="231910" y="76276"/>
                    </a:cubicBezTo>
                    <a:lnTo>
                      <a:pt x="155637" y="0"/>
                    </a:lnTo>
                    <a:lnTo>
                      <a:pt x="47548" y="50042"/>
                    </a:lnTo>
                    <a:cubicBezTo>
                      <a:pt x="18633" y="63429"/>
                      <a:pt x="0" y="93296"/>
                      <a:pt x="0" y="126257"/>
                    </a:cubicBezTo>
                    <a:lnTo>
                      <a:pt x="0" y="343117"/>
                    </a:lnTo>
                    <a:cubicBezTo>
                      <a:pt x="0" y="366146"/>
                      <a:pt x="17925" y="384818"/>
                      <a:pt x="40033" y="384818"/>
                    </a:cubicBezTo>
                    <a:close/>
                  </a:path>
                </a:pathLst>
              </a:custGeom>
              <a:solidFill>
                <a:srgbClr val="FF9B1E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0" name="Forme libre : forme 219">
                <a:extLst>
                  <a:ext uri="{FF2B5EF4-FFF2-40B4-BE49-F238E27FC236}">
                    <a16:creationId xmlns:a16="http://schemas.microsoft.com/office/drawing/2014/main" id="{E4A35C57-2CD1-AC00-0EE5-08018C8BE236}"/>
                  </a:ext>
                </a:extLst>
              </p:cNvPr>
              <p:cNvSpPr/>
              <p:nvPr/>
            </p:nvSpPr>
            <p:spPr>
              <a:xfrm>
                <a:off x="2690310" y="2701972"/>
                <a:ext cx="171663" cy="120100"/>
              </a:xfrm>
              <a:custGeom>
                <a:avLst/>
                <a:gdLst>
                  <a:gd name="connsiteX0" fmla="*/ 5767 w 171663"/>
                  <a:gd name="connsiteY0" fmla="*/ 0 h 120100"/>
                  <a:gd name="connsiteX1" fmla="*/ 5767 w 171663"/>
                  <a:gd name="connsiteY1" fmla="*/ 77153 h 120100"/>
                  <a:gd name="connsiteX2" fmla="*/ 0 w 171663"/>
                  <a:gd name="connsiteY2" fmla="*/ 98304 h 120100"/>
                  <a:gd name="connsiteX3" fmla="*/ 85833 w 171663"/>
                  <a:gd name="connsiteY3" fmla="*/ 120100 h 120100"/>
                  <a:gd name="connsiteX4" fmla="*/ 171664 w 171663"/>
                  <a:gd name="connsiteY4" fmla="*/ 98307 h 120100"/>
                  <a:gd name="connsiteX5" fmla="*/ 165897 w 171663"/>
                  <a:gd name="connsiteY5" fmla="*/ 77153 h 120100"/>
                  <a:gd name="connsiteX6" fmla="*/ 165897 w 171663"/>
                  <a:gd name="connsiteY6" fmla="*/ 0 h 120100"/>
                  <a:gd name="connsiteX7" fmla="*/ 5767 w 171663"/>
                  <a:gd name="connsiteY7" fmla="*/ 0 h 12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663" h="120100">
                    <a:moveTo>
                      <a:pt x="5767" y="0"/>
                    </a:moveTo>
                    <a:lnTo>
                      <a:pt x="5767" y="77153"/>
                    </a:lnTo>
                    <a:cubicBezTo>
                      <a:pt x="5767" y="84791"/>
                      <a:pt x="3587" y="91997"/>
                      <a:pt x="0" y="98304"/>
                    </a:cubicBezTo>
                    <a:cubicBezTo>
                      <a:pt x="25531" y="112198"/>
                      <a:pt x="54778" y="120100"/>
                      <a:pt x="85833" y="120100"/>
                    </a:cubicBezTo>
                    <a:cubicBezTo>
                      <a:pt x="116888" y="120100"/>
                      <a:pt x="146133" y="112200"/>
                      <a:pt x="171664" y="98307"/>
                    </a:cubicBezTo>
                    <a:cubicBezTo>
                      <a:pt x="168077" y="92000"/>
                      <a:pt x="165897" y="84791"/>
                      <a:pt x="165897" y="77153"/>
                    </a:cubicBezTo>
                    <a:lnTo>
                      <a:pt x="165897" y="0"/>
                    </a:lnTo>
                    <a:lnTo>
                      <a:pt x="5767" y="0"/>
                    </a:lnTo>
                    <a:close/>
                  </a:path>
                </a:pathLst>
              </a:custGeom>
              <a:solidFill>
                <a:srgbClr val="966D50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1" name="Forme libre : forme 220">
                <a:extLst>
                  <a:ext uri="{FF2B5EF4-FFF2-40B4-BE49-F238E27FC236}">
                    <a16:creationId xmlns:a16="http://schemas.microsoft.com/office/drawing/2014/main" id="{C6A40502-A9CF-7043-BDE2-B2E8D10F04ED}"/>
                  </a:ext>
                </a:extLst>
              </p:cNvPr>
              <p:cNvSpPr/>
              <p:nvPr/>
            </p:nvSpPr>
            <p:spPr>
              <a:xfrm>
                <a:off x="2636024" y="2521820"/>
                <a:ext cx="280235" cy="260216"/>
              </a:xfrm>
              <a:custGeom>
                <a:avLst/>
                <a:gdLst>
                  <a:gd name="connsiteX0" fmla="*/ 140119 w 280235"/>
                  <a:gd name="connsiteY0" fmla="*/ 260217 h 260216"/>
                  <a:gd name="connsiteX1" fmla="*/ 140119 w 280235"/>
                  <a:gd name="connsiteY1" fmla="*/ 260217 h 260216"/>
                  <a:gd name="connsiteX2" fmla="*/ 0 w 280235"/>
                  <a:gd name="connsiteY2" fmla="*/ 120100 h 260216"/>
                  <a:gd name="connsiteX3" fmla="*/ 0 w 280235"/>
                  <a:gd name="connsiteY3" fmla="*/ 0 h 260216"/>
                  <a:gd name="connsiteX4" fmla="*/ 280236 w 280235"/>
                  <a:gd name="connsiteY4" fmla="*/ 0 h 260216"/>
                  <a:gd name="connsiteX5" fmla="*/ 280236 w 280235"/>
                  <a:gd name="connsiteY5" fmla="*/ 120100 h 260216"/>
                  <a:gd name="connsiteX6" fmla="*/ 140119 w 280235"/>
                  <a:gd name="connsiteY6" fmla="*/ 260217 h 26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0235" h="260216">
                    <a:moveTo>
                      <a:pt x="140119" y="260217"/>
                    </a:moveTo>
                    <a:lnTo>
                      <a:pt x="140119" y="260217"/>
                    </a:lnTo>
                    <a:cubicBezTo>
                      <a:pt x="62733" y="260217"/>
                      <a:pt x="0" y="197483"/>
                      <a:pt x="0" y="120100"/>
                    </a:cubicBezTo>
                    <a:lnTo>
                      <a:pt x="0" y="0"/>
                    </a:lnTo>
                    <a:lnTo>
                      <a:pt x="280236" y="0"/>
                    </a:lnTo>
                    <a:lnTo>
                      <a:pt x="280236" y="120100"/>
                    </a:lnTo>
                    <a:cubicBezTo>
                      <a:pt x="280238" y="197486"/>
                      <a:pt x="217505" y="260217"/>
                      <a:pt x="140119" y="260217"/>
                    </a:cubicBezTo>
                    <a:close/>
                  </a:path>
                </a:pathLst>
              </a:custGeom>
              <a:solidFill>
                <a:srgbClr val="C39772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2" name="Forme libre : forme 221">
                <a:extLst>
                  <a:ext uri="{FF2B5EF4-FFF2-40B4-BE49-F238E27FC236}">
                    <a16:creationId xmlns:a16="http://schemas.microsoft.com/office/drawing/2014/main" id="{5CEB8838-93E1-F7C1-AE9B-F867454EE901}"/>
                  </a:ext>
                </a:extLst>
              </p:cNvPr>
              <p:cNvSpPr/>
              <p:nvPr/>
            </p:nvSpPr>
            <p:spPr>
              <a:xfrm>
                <a:off x="2636026" y="2521820"/>
                <a:ext cx="180149" cy="260219"/>
              </a:xfrm>
              <a:custGeom>
                <a:avLst/>
                <a:gdLst>
                  <a:gd name="connsiteX0" fmla="*/ 80067 w 180149"/>
                  <a:gd name="connsiteY0" fmla="*/ 120100 h 260219"/>
                  <a:gd name="connsiteX1" fmla="*/ 80067 w 180149"/>
                  <a:gd name="connsiteY1" fmla="*/ 0 h 260219"/>
                  <a:gd name="connsiteX2" fmla="*/ 0 w 180149"/>
                  <a:gd name="connsiteY2" fmla="*/ 0 h 260219"/>
                  <a:gd name="connsiteX3" fmla="*/ 0 w 180149"/>
                  <a:gd name="connsiteY3" fmla="*/ 120100 h 260219"/>
                  <a:gd name="connsiteX4" fmla="*/ 140117 w 180149"/>
                  <a:gd name="connsiteY4" fmla="*/ 260219 h 260219"/>
                  <a:gd name="connsiteX5" fmla="*/ 180150 w 180149"/>
                  <a:gd name="connsiteY5" fmla="*/ 254341 h 260219"/>
                  <a:gd name="connsiteX6" fmla="*/ 80067 w 180149"/>
                  <a:gd name="connsiteY6" fmla="*/ 120100 h 26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149" h="260219">
                    <a:moveTo>
                      <a:pt x="80067" y="120100"/>
                    </a:moveTo>
                    <a:lnTo>
                      <a:pt x="80067" y="0"/>
                    </a:lnTo>
                    <a:lnTo>
                      <a:pt x="0" y="0"/>
                    </a:lnTo>
                    <a:lnTo>
                      <a:pt x="0" y="120100"/>
                    </a:lnTo>
                    <a:cubicBezTo>
                      <a:pt x="0" y="197483"/>
                      <a:pt x="62733" y="260219"/>
                      <a:pt x="140117" y="260219"/>
                    </a:cubicBezTo>
                    <a:cubicBezTo>
                      <a:pt x="154037" y="260219"/>
                      <a:pt x="167458" y="258120"/>
                      <a:pt x="180150" y="254341"/>
                    </a:cubicBezTo>
                    <a:cubicBezTo>
                      <a:pt x="122286" y="237105"/>
                      <a:pt x="80067" y="183563"/>
                      <a:pt x="80067" y="120100"/>
                    </a:cubicBezTo>
                    <a:close/>
                  </a:path>
                </a:pathLst>
              </a:custGeom>
              <a:solidFill>
                <a:srgbClr val="B48764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3" name="Forme libre : forme 222">
                <a:extLst>
                  <a:ext uri="{FF2B5EF4-FFF2-40B4-BE49-F238E27FC236}">
                    <a16:creationId xmlns:a16="http://schemas.microsoft.com/office/drawing/2014/main" id="{FE4FF032-121E-B5DA-ADC8-E70AF90A6F7D}"/>
                  </a:ext>
                </a:extLst>
              </p:cNvPr>
              <p:cNvSpPr/>
              <p:nvPr/>
            </p:nvSpPr>
            <p:spPr>
              <a:xfrm>
                <a:off x="2616007" y="2421734"/>
                <a:ext cx="320271" cy="192357"/>
              </a:xfrm>
              <a:custGeom>
                <a:avLst/>
                <a:gdLst>
                  <a:gd name="connsiteX0" fmla="*/ 180152 w 320271"/>
                  <a:gd name="connsiteY0" fmla="*/ 0 h 192357"/>
                  <a:gd name="connsiteX1" fmla="*/ 140119 w 320271"/>
                  <a:gd name="connsiteY1" fmla="*/ 0 h 192357"/>
                  <a:gd name="connsiteX2" fmla="*/ 0 w 320271"/>
                  <a:gd name="connsiteY2" fmla="*/ 140119 h 192357"/>
                  <a:gd name="connsiteX3" fmla="*/ 0 w 320271"/>
                  <a:gd name="connsiteY3" fmla="*/ 172141 h 192357"/>
                  <a:gd name="connsiteX4" fmla="*/ 28859 w 320271"/>
                  <a:gd name="connsiteY4" fmla="*/ 190127 h 192357"/>
                  <a:gd name="connsiteX5" fmla="*/ 88992 w 320271"/>
                  <a:gd name="connsiteY5" fmla="*/ 137877 h 192357"/>
                  <a:gd name="connsiteX6" fmla="*/ 116576 w 320271"/>
                  <a:gd name="connsiteY6" fmla="*/ 134365 h 192357"/>
                  <a:gd name="connsiteX7" fmla="*/ 304327 w 320271"/>
                  <a:gd name="connsiteY7" fmla="*/ 163803 h 192357"/>
                  <a:gd name="connsiteX8" fmla="*/ 320272 w 320271"/>
                  <a:gd name="connsiteY8" fmla="*/ 144201 h 192357"/>
                  <a:gd name="connsiteX9" fmla="*/ 320272 w 320271"/>
                  <a:gd name="connsiteY9" fmla="*/ 140119 h 192357"/>
                  <a:gd name="connsiteX10" fmla="*/ 180152 w 320271"/>
                  <a:gd name="connsiteY10" fmla="*/ 0 h 19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0271" h="192357">
                    <a:moveTo>
                      <a:pt x="180152" y="0"/>
                    </a:moveTo>
                    <a:lnTo>
                      <a:pt x="140119" y="0"/>
                    </a:lnTo>
                    <a:cubicBezTo>
                      <a:pt x="62733" y="0"/>
                      <a:pt x="0" y="62733"/>
                      <a:pt x="0" y="140119"/>
                    </a:cubicBezTo>
                    <a:lnTo>
                      <a:pt x="0" y="172141"/>
                    </a:lnTo>
                    <a:cubicBezTo>
                      <a:pt x="0" y="186976"/>
                      <a:pt x="15738" y="197047"/>
                      <a:pt x="28859" y="190127"/>
                    </a:cubicBezTo>
                    <a:cubicBezTo>
                      <a:pt x="49167" y="179416"/>
                      <a:pt x="72984" y="159433"/>
                      <a:pt x="88992" y="137877"/>
                    </a:cubicBezTo>
                    <a:cubicBezTo>
                      <a:pt x="95456" y="129170"/>
                      <a:pt x="107886" y="127881"/>
                      <a:pt x="116576" y="134365"/>
                    </a:cubicBezTo>
                    <a:cubicBezTo>
                      <a:pt x="180092" y="181762"/>
                      <a:pt x="268562" y="170866"/>
                      <a:pt x="304327" y="163803"/>
                    </a:cubicBezTo>
                    <a:cubicBezTo>
                      <a:pt x="313647" y="161963"/>
                      <a:pt x="320272" y="153700"/>
                      <a:pt x="320272" y="144201"/>
                    </a:cubicBezTo>
                    <a:lnTo>
                      <a:pt x="320272" y="140119"/>
                    </a:lnTo>
                    <a:cubicBezTo>
                      <a:pt x="320272" y="62733"/>
                      <a:pt x="257538" y="0"/>
                      <a:pt x="180152" y="0"/>
                    </a:cubicBezTo>
                    <a:close/>
                  </a:path>
                </a:pathLst>
              </a:custGeom>
              <a:solidFill>
                <a:srgbClr val="5C414B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4" name="Forme libre : forme 223">
                <a:extLst>
                  <a:ext uri="{FF2B5EF4-FFF2-40B4-BE49-F238E27FC236}">
                    <a16:creationId xmlns:a16="http://schemas.microsoft.com/office/drawing/2014/main" id="{3FEDB548-820D-B569-4ACF-5702676FE0DA}"/>
                  </a:ext>
                </a:extLst>
              </p:cNvPr>
              <p:cNvSpPr/>
              <p:nvPr/>
            </p:nvSpPr>
            <p:spPr>
              <a:xfrm>
                <a:off x="2616007" y="2439588"/>
                <a:ext cx="98490" cy="174500"/>
              </a:xfrm>
              <a:custGeom>
                <a:avLst/>
                <a:gdLst>
                  <a:gd name="connsiteX0" fmla="*/ 28862 w 98490"/>
                  <a:gd name="connsiteY0" fmla="*/ 172270 h 174500"/>
                  <a:gd name="connsiteX1" fmla="*/ 88992 w 98490"/>
                  <a:gd name="connsiteY1" fmla="*/ 120020 h 174500"/>
                  <a:gd name="connsiteX2" fmla="*/ 98491 w 98490"/>
                  <a:gd name="connsiteY2" fmla="*/ 113689 h 174500"/>
                  <a:gd name="connsiteX3" fmla="*/ 71777 w 98490"/>
                  <a:gd name="connsiteY3" fmla="*/ 0 h 174500"/>
                  <a:gd name="connsiteX4" fmla="*/ 0 w 98490"/>
                  <a:gd name="connsiteY4" fmla="*/ 122265 h 174500"/>
                  <a:gd name="connsiteX5" fmla="*/ 0 w 98490"/>
                  <a:gd name="connsiteY5" fmla="*/ 154284 h 174500"/>
                  <a:gd name="connsiteX6" fmla="*/ 28862 w 98490"/>
                  <a:gd name="connsiteY6" fmla="*/ 172270 h 17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8490" h="174500">
                    <a:moveTo>
                      <a:pt x="28862" y="172270"/>
                    </a:moveTo>
                    <a:cubicBezTo>
                      <a:pt x="49169" y="161559"/>
                      <a:pt x="72986" y="141576"/>
                      <a:pt x="88992" y="120020"/>
                    </a:cubicBezTo>
                    <a:cubicBezTo>
                      <a:pt x="91442" y="116721"/>
                      <a:pt x="94855" y="114838"/>
                      <a:pt x="98491" y="113689"/>
                    </a:cubicBezTo>
                    <a:cubicBezTo>
                      <a:pt x="70192" y="74295"/>
                      <a:pt x="68262" y="30384"/>
                      <a:pt x="71777" y="0"/>
                    </a:cubicBezTo>
                    <a:cubicBezTo>
                      <a:pt x="28973" y="23980"/>
                      <a:pt x="0" y="69712"/>
                      <a:pt x="0" y="122265"/>
                    </a:cubicBezTo>
                    <a:lnTo>
                      <a:pt x="0" y="154284"/>
                    </a:lnTo>
                    <a:cubicBezTo>
                      <a:pt x="0" y="169119"/>
                      <a:pt x="15738" y="179190"/>
                      <a:pt x="28862" y="172270"/>
                    </a:cubicBezTo>
                    <a:close/>
                  </a:path>
                </a:pathLst>
              </a:custGeom>
              <a:solidFill>
                <a:srgbClr val="503441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225" name="Graphique 731">
                <a:extLst>
                  <a:ext uri="{FF2B5EF4-FFF2-40B4-BE49-F238E27FC236}">
                    <a16:creationId xmlns:a16="http://schemas.microsoft.com/office/drawing/2014/main" id="{21A66571-CB38-6369-4F81-C88A52F058BE}"/>
                  </a:ext>
                </a:extLst>
              </p:cNvPr>
              <p:cNvGrpSpPr/>
              <p:nvPr/>
            </p:nvGrpSpPr>
            <p:grpSpPr>
              <a:xfrm>
                <a:off x="2515924" y="2900035"/>
                <a:ext cx="520435" cy="302356"/>
                <a:chOff x="2515924" y="2900035"/>
                <a:chExt cx="520435" cy="302356"/>
              </a:xfrm>
              <a:solidFill>
                <a:srgbClr val="DBD9DC"/>
              </a:solidFill>
            </p:grpSpPr>
            <p:sp>
              <p:nvSpPr>
                <p:cNvPr id="229" name="Forme libre : forme 228">
                  <a:extLst>
                    <a:ext uri="{FF2B5EF4-FFF2-40B4-BE49-F238E27FC236}">
                      <a16:creationId xmlns:a16="http://schemas.microsoft.com/office/drawing/2014/main" id="{8940CDA4-FB34-60A4-EF3B-D84B4175CB88}"/>
                    </a:ext>
                  </a:extLst>
                </p:cNvPr>
                <p:cNvSpPr/>
                <p:nvPr/>
              </p:nvSpPr>
              <p:spPr>
                <a:xfrm>
                  <a:off x="2515924" y="2909345"/>
                  <a:ext cx="100083" cy="293046"/>
                </a:xfrm>
                <a:custGeom>
                  <a:avLst/>
                  <a:gdLst>
                    <a:gd name="connsiteX0" fmla="*/ 100083 w 100083"/>
                    <a:gd name="connsiteY0" fmla="*/ 117751 h 293046"/>
                    <a:gd name="connsiteX1" fmla="*/ 82495 w 100083"/>
                    <a:gd name="connsiteY1" fmla="*/ 75289 h 293046"/>
                    <a:gd name="connsiteX2" fmla="*/ 7206 w 100083"/>
                    <a:gd name="connsiteY2" fmla="*/ 0 h 293046"/>
                    <a:gd name="connsiteX3" fmla="*/ 0 w 100083"/>
                    <a:gd name="connsiteY3" fmla="*/ 34483 h 293046"/>
                    <a:gd name="connsiteX4" fmla="*/ 0 w 100083"/>
                    <a:gd name="connsiteY4" fmla="*/ 251343 h 293046"/>
                    <a:gd name="connsiteX5" fmla="*/ 40033 w 100083"/>
                    <a:gd name="connsiteY5" fmla="*/ 293046 h 293046"/>
                    <a:gd name="connsiteX6" fmla="*/ 100083 w 100083"/>
                    <a:gd name="connsiteY6" fmla="*/ 293046 h 293046"/>
                    <a:gd name="connsiteX7" fmla="*/ 100083 w 100083"/>
                    <a:gd name="connsiteY7" fmla="*/ 117751 h 293046"/>
                    <a:gd name="connsiteX8" fmla="*/ 100083 w 100083"/>
                    <a:gd name="connsiteY8" fmla="*/ 117751 h 293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083" h="293046">
                      <a:moveTo>
                        <a:pt x="100083" y="117751"/>
                      </a:moveTo>
                      <a:cubicBezTo>
                        <a:pt x="100083" y="101824"/>
                        <a:pt x="93757" y="86551"/>
                        <a:pt x="82495" y="75289"/>
                      </a:cubicBezTo>
                      <a:lnTo>
                        <a:pt x="7206" y="0"/>
                      </a:lnTo>
                      <a:cubicBezTo>
                        <a:pt x="2567" y="10634"/>
                        <a:pt x="0" y="22341"/>
                        <a:pt x="0" y="34483"/>
                      </a:cubicBezTo>
                      <a:lnTo>
                        <a:pt x="0" y="251343"/>
                      </a:lnTo>
                      <a:cubicBezTo>
                        <a:pt x="0" y="274375"/>
                        <a:pt x="17925" y="293046"/>
                        <a:pt x="40033" y="293046"/>
                      </a:cubicBezTo>
                      <a:lnTo>
                        <a:pt x="100083" y="293046"/>
                      </a:lnTo>
                      <a:lnTo>
                        <a:pt x="100083" y="117751"/>
                      </a:lnTo>
                      <a:lnTo>
                        <a:pt x="100083" y="117751"/>
                      </a:lnTo>
                      <a:close/>
                    </a:path>
                  </a:pathLst>
                </a:custGeom>
                <a:solidFill>
                  <a:srgbClr val="FF7645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30" name="Forme libre : forme 229">
                  <a:extLst>
                    <a:ext uri="{FF2B5EF4-FFF2-40B4-BE49-F238E27FC236}">
                      <a16:creationId xmlns:a16="http://schemas.microsoft.com/office/drawing/2014/main" id="{C6203309-53F0-FED1-86B8-C0CA8075870E}"/>
                    </a:ext>
                  </a:extLst>
                </p:cNvPr>
                <p:cNvSpPr/>
                <p:nvPr/>
              </p:nvSpPr>
              <p:spPr>
                <a:xfrm>
                  <a:off x="2936276" y="2909345"/>
                  <a:ext cx="100083" cy="293046"/>
                </a:xfrm>
                <a:custGeom>
                  <a:avLst/>
                  <a:gdLst>
                    <a:gd name="connsiteX0" fmla="*/ 0 w 100083"/>
                    <a:gd name="connsiteY0" fmla="*/ 117751 h 293046"/>
                    <a:gd name="connsiteX1" fmla="*/ 17588 w 100083"/>
                    <a:gd name="connsiteY1" fmla="*/ 75289 h 293046"/>
                    <a:gd name="connsiteX2" fmla="*/ 92877 w 100083"/>
                    <a:gd name="connsiteY2" fmla="*/ 0 h 293046"/>
                    <a:gd name="connsiteX3" fmla="*/ 100083 w 100083"/>
                    <a:gd name="connsiteY3" fmla="*/ 34483 h 293046"/>
                    <a:gd name="connsiteX4" fmla="*/ 100083 w 100083"/>
                    <a:gd name="connsiteY4" fmla="*/ 251343 h 293046"/>
                    <a:gd name="connsiteX5" fmla="*/ 60050 w 100083"/>
                    <a:gd name="connsiteY5" fmla="*/ 293046 h 293046"/>
                    <a:gd name="connsiteX6" fmla="*/ 0 w 100083"/>
                    <a:gd name="connsiteY6" fmla="*/ 293046 h 293046"/>
                    <a:gd name="connsiteX7" fmla="*/ 0 w 100083"/>
                    <a:gd name="connsiteY7" fmla="*/ 117751 h 293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0083" h="293046">
                      <a:moveTo>
                        <a:pt x="0" y="117751"/>
                      </a:moveTo>
                      <a:cubicBezTo>
                        <a:pt x="0" y="101824"/>
                        <a:pt x="6326" y="86551"/>
                        <a:pt x="17588" y="75289"/>
                      </a:cubicBezTo>
                      <a:lnTo>
                        <a:pt x="92877" y="0"/>
                      </a:lnTo>
                      <a:cubicBezTo>
                        <a:pt x="97516" y="10634"/>
                        <a:pt x="100083" y="22341"/>
                        <a:pt x="100083" y="34483"/>
                      </a:cubicBezTo>
                      <a:lnTo>
                        <a:pt x="100083" y="251343"/>
                      </a:lnTo>
                      <a:cubicBezTo>
                        <a:pt x="100083" y="274375"/>
                        <a:pt x="82159" y="293046"/>
                        <a:pt x="60050" y="293046"/>
                      </a:cubicBezTo>
                      <a:lnTo>
                        <a:pt x="0" y="293046"/>
                      </a:lnTo>
                      <a:lnTo>
                        <a:pt x="0" y="117751"/>
                      </a:lnTo>
                      <a:close/>
                    </a:path>
                  </a:pathLst>
                </a:custGeom>
                <a:solidFill>
                  <a:srgbClr val="FF7645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31" name="Forme libre : forme 230">
                  <a:extLst>
                    <a:ext uri="{FF2B5EF4-FFF2-40B4-BE49-F238E27FC236}">
                      <a16:creationId xmlns:a16="http://schemas.microsoft.com/office/drawing/2014/main" id="{711EE480-7D34-D365-8918-3769E4B0A4FF}"/>
                    </a:ext>
                  </a:extLst>
                </p:cNvPr>
                <p:cNvSpPr/>
                <p:nvPr/>
              </p:nvSpPr>
              <p:spPr>
                <a:xfrm>
                  <a:off x="2756126" y="2900035"/>
                  <a:ext cx="40033" cy="302356"/>
                </a:xfrm>
                <a:custGeom>
                  <a:avLst/>
                  <a:gdLst>
                    <a:gd name="connsiteX0" fmla="*/ 0 w 40033"/>
                    <a:gd name="connsiteY0" fmla="*/ 0 h 302356"/>
                    <a:gd name="connsiteX1" fmla="*/ 0 w 40033"/>
                    <a:gd name="connsiteY1" fmla="*/ 302356 h 302356"/>
                    <a:gd name="connsiteX2" fmla="*/ 40033 w 40033"/>
                    <a:gd name="connsiteY2" fmla="*/ 302356 h 302356"/>
                    <a:gd name="connsiteX3" fmla="*/ 40033 w 40033"/>
                    <a:gd name="connsiteY3" fmla="*/ 0 h 302356"/>
                    <a:gd name="connsiteX4" fmla="*/ 0 w 40033"/>
                    <a:gd name="connsiteY4" fmla="*/ 0 h 302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033" h="302356">
                      <a:moveTo>
                        <a:pt x="0" y="0"/>
                      </a:moveTo>
                      <a:lnTo>
                        <a:pt x="0" y="302356"/>
                      </a:lnTo>
                      <a:lnTo>
                        <a:pt x="40033" y="302356"/>
                      </a:lnTo>
                      <a:lnTo>
                        <a:pt x="40033" y="0"/>
                      </a:lnTo>
                      <a:cubicBezTo>
                        <a:pt x="27657" y="7184"/>
                        <a:pt x="12374" y="7184"/>
                        <a:pt x="0" y="0"/>
                      </a:cubicBezTo>
                      <a:close/>
                    </a:path>
                  </a:pathLst>
                </a:custGeom>
                <a:solidFill>
                  <a:srgbClr val="FF7645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grpSp>
            <p:nvGrpSpPr>
              <p:cNvPr id="226" name="Graphique 731">
                <a:extLst>
                  <a:ext uri="{FF2B5EF4-FFF2-40B4-BE49-F238E27FC236}">
                    <a16:creationId xmlns:a16="http://schemas.microsoft.com/office/drawing/2014/main" id="{BC980540-1FB9-090B-A55E-2E0ADD193480}"/>
                  </a:ext>
                </a:extLst>
              </p:cNvPr>
              <p:cNvGrpSpPr/>
              <p:nvPr/>
            </p:nvGrpSpPr>
            <p:grpSpPr>
              <a:xfrm>
                <a:off x="2355786" y="2641920"/>
                <a:ext cx="40130" cy="200168"/>
                <a:chOff x="2355786" y="2641920"/>
                <a:chExt cx="40130" cy="200168"/>
              </a:xfrm>
              <a:solidFill>
                <a:srgbClr val="FFFFFF"/>
              </a:solidFill>
            </p:grpSpPr>
            <p:sp>
              <p:nvSpPr>
                <p:cNvPr id="227" name="Forme libre : forme 226">
                  <a:extLst>
                    <a:ext uri="{FF2B5EF4-FFF2-40B4-BE49-F238E27FC236}">
                      <a16:creationId xmlns:a16="http://schemas.microsoft.com/office/drawing/2014/main" id="{1E3C22AD-DD50-F246-8187-FDF6CC118434}"/>
                    </a:ext>
                  </a:extLst>
                </p:cNvPr>
                <p:cNvSpPr/>
                <p:nvPr/>
              </p:nvSpPr>
              <p:spPr>
                <a:xfrm>
                  <a:off x="2355788" y="2641920"/>
                  <a:ext cx="40033" cy="140116"/>
                </a:xfrm>
                <a:custGeom>
                  <a:avLst/>
                  <a:gdLst>
                    <a:gd name="connsiteX0" fmla="*/ 20017 w 40033"/>
                    <a:gd name="connsiteY0" fmla="*/ 140117 h 140116"/>
                    <a:gd name="connsiteX1" fmla="*/ 0 w 40033"/>
                    <a:gd name="connsiteY1" fmla="*/ 120100 h 140116"/>
                    <a:gd name="connsiteX2" fmla="*/ 0 w 40033"/>
                    <a:gd name="connsiteY2" fmla="*/ 20017 h 140116"/>
                    <a:gd name="connsiteX3" fmla="*/ 20017 w 40033"/>
                    <a:gd name="connsiteY3" fmla="*/ 0 h 140116"/>
                    <a:gd name="connsiteX4" fmla="*/ 40033 w 40033"/>
                    <a:gd name="connsiteY4" fmla="*/ 20017 h 140116"/>
                    <a:gd name="connsiteX5" fmla="*/ 40033 w 40033"/>
                    <a:gd name="connsiteY5" fmla="*/ 120100 h 140116"/>
                    <a:gd name="connsiteX6" fmla="*/ 20017 w 40033"/>
                    <a:gd name="connsiteY6" fmla="*/ 140117 h 140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033" h="140116">
                      <a:moveTo>
                        <a:pt x="20017" y="140117"/>
                      </a:moveTo>
                      <a:cubicBezTo>
                        <a:pt x="8952" y="140117"/>
                        <a:pt x="0" y="131153"/>
                        <a:pt x="0" y="120100"/>
                      </a:cubicBezTo>
                      <a:lnTo>
                        <a:pt x="0" y="20017"/>
                      </a:lnTo>
                      <a:cubicBezTo>
                        <a:pt x="0" y="8964"/>
                        <a:pt x="8954" y="0"/>
                        <a:pt x="20017" y="0"/>
                      </a:cubicBezTo>
                      <a:cubicBezTo>
                        <a:pt x="31082" y="0"/>
                        <a:pt x="40033" y="8964"/>
                        <a:pt x="40033" y="20017"/>
                      </a:cubicBezTo>
                      <a:lnTo>
                        <a:pt x="40033" y="120100"/>
                      </a:lnTo>
                      <a:cubicBezTo>
                        <a:pt x="40033" y="131155"/>
                        <a:pt x="31079" y="140117"/>
                        <a:pt x="20017" y="14011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28" name="Forme libre : forme 227">
                  <a:extLst>
                    <a:ext uri="{FF2B5EF4-FFF2-40B4-BE49-F238E27FC236}">
                      <a16:creationId xmlns:a16="http://schemas.microsoft.com/office/drawing/2014/main" id="{9E41E179-0746-7C4D-D928-F89289D58855}"/>
                    </a:ext>
                  </a:extLst>
                </p:cNvPr>
                <p:cNvSpPr/>
                <p:nvPr/>
              </p:nvSpPr>
              <p:spPr>
                <a:xfrm>
                  <a:off x="2355786" y="2802055"/>
                  <a:ext cx="40130" cy="40033"/>
                </a:xfrm>
                <a:custGeom>
                  <a:avLst/>
                  <a:gdLst>
                    <a:gd name="connsiteX0" fmla="*/ 20213 w 40130"/>
                    <a:gd name="connsiteY0" fmla="*/ 40033 h 40033"/>
                    <a:gd name="connsiteX1" fmla="*/ 20017 w 40130"/>
                    <a:gd name="connsiteY1" fmla="*/ 40033 h 40033"/>
                    <a:gd name="connsiteX2" fmla="*/ 0 w 40130"/>
                    <a:gd name="connsiteY2" fmla="*/ 20017 h 40033"/>
                    <a:gd name="connsiteX3" fmla="*/ 20017 w 40130"/>
                    <a:gd name="connsiteY3" fmla="*/ 0 h 40033"/>
                    <a:gd name="connsiteX4" fmla="*/ 40130 w 40130"/>
                    <a:gd name="connsiteY4" fmla="*/ 20017 h 40033"/>
                    <a:gd name="connsiteX5" fmla="*/ 20213 w 40130"/>
                    <a:gd name="connsiteY5" fmla="*/ 40033 h 40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130" h="40033">
                      <a:moveTo>
                        <a:pt x="20213" y="40033"/>
                      </a:moveTo>
                      <a:lnTo>
                        <a:pt x="20017" y="40033"/>
                      </a:lnTo>
                      <a:cubicBezTo>
                        <a:pt x="8951" y="40033"/>
                        <a:pt x="0" y="31070"/>
                        <a:pt x="0" y="20017"/>
                      </a:cubicBezTo>
                      <a:cubicBezTo>
                        <a:pt x="0" y="8964"/>
                        <a:pt x="8954" y="0"/>
                        <a:pt x="20017" y="0"/>
                      </a:cubicBezTo>
                      <a:cubicBezTo>
                        <a:pt x="31082" y="0"/>
                        <a:pt x="40130" y="8964"/>
                        <a:pt x="40130" y="20017"/>
                      </a:cubicBezTo>
                      <a:cubicBezTo>
                        <a:pt x="40133" y="31070"/>
                        <a:pt x="31278" y="40033"/>
                        <a:pt x="20213" y="400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</p:grpSp>
      <p:grpSp>
        <p:nvGrpSpPr>
          <p:cNvPr id="237" name="Graphique 38">
            <a:extLst>
              <a:ext uri="{FF2B5EF4-FFF2-40B4-BE49-F238E27FC236}">
                <a16:creationId xmlns:a16="http://schemas.microsoft.com/office/drawing/2014/main" id="{976103A6-686E-1E69-6D57-E1EC3790EA51}"/>
              </a:ext>
            </a:extLst>
          </p:cNvPr>
          <p:cNvGrpSpPr/>
          <p:nvPr/>
        </p:nvGrpSpPr>
        <p:grpSpPr>
          <a:xfrm>
            <a:off x="2314457" y="2723740"/>
            <a:ext cx="394279" cy="410591"/>
            <a:chOff x="-2798025" y="3656881"/>
            <a:chExt cx="2382119" cy="2549285"/>
          </a:xfrm>
        </p:grpSpPr>
        <p:sp>
          <p:nvSpPr>
            <p:cNvPr id="238" name="Forme libre : forme 237">
              <a:extLst>
                <a:ext uri="{FF2B5EF4-FFF2-40B4-BE49-F238E27FC236}">
                  <a16:creationId xmlns:a16="http://schemas.microsoft.com/office/drawing/2014/main" id="{FA616016-C9EE-01EF-67FE-AE0A3DA197AA}"/>
                </a:ext>
              </a:extLst>
            </p:cNvPr>
            <p:cNvSpPr/>
            <p:nvPr/>
          </p:nvSpPr>
          <p:spPr>
            <a:xfrm>
              <a:off x="-2589058" y="3656881"/>
              <a:ext cx="334334" cy="292540"/>
            </a:xfrm>
            <a:custGeom>
              <a:avLst/>
              <a:gdLst>
                <a:gd name="connsiteX0" fmla="*/ 334335 w 334334"/>
                <a:gd name="connsiteY0" fmla="*/ 146270 h 292540"/>
                <a:gd name="connsiteX1" fmla="*/ 167167 w 334334"/>
                <a:gd name="connsiteY1" fmla="*/ 292541 h 292540"/>
                <a:gd name="connsiteX2" fmla="*/ 0 w 334334"/>
                <a:gd name="connsiteY2" fmla="*/ 146270 h 292540"/>
                <a:gd name="connsiteX3" fmla="*/ 167167 w 334334"/>
                <a:gd name="connsiteY3" fmla="*/ 0 h 292540"/>
                <a:gd name="connsiteX4" fmla="*/ 334335 w 334334"/>
                <a:gd name="connsiteY4" fmla="*/ 146270 h 29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334" h="292540">
                  <a:moveTo>
                    <a:pt x="334335" y="146270"/>
                  </a:moveTo>
                  <a:cubicBezTo>
                    <a:pt x="334335" y="227053"/>
                    <a:pt x="259491" y="292541"/>
                    <a:pt x="167167" y="292541"/>
                  </a:cubicBezTo>
                  <a:cubicBezTo>
                    <a:pt x="74843" y="292541"/>
                    <a:pt x="0" y="227053"/>
                    <a:pt x="0" y="146270"/>
                  </a:cubicBezTo>
                  <a:cubicBezTo>
                    <a:pt x="0" y="65487"/>
                    <a:pt x="74843" y="0"/>
                    <a:pt x="167167" y="0"/>
                  </a:cubicBezTo>
                  <a:cubicBezTo>
                    <a:pt x="259491" y="0"/>
                    <a:pt x="334335" y="65487"/>
                    <a:pt x="334335" y="146270"/>
                  </a:cubicBezTo>
                  <a:close/>
                </a:path>
              </a:pathLst>
            </a:custGeom>
            <a:solidFill>
              <a:srgbClr val="785550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9" name="Forme libre : forme 238">
              <a:extLst>
                <a:ext uri="{FF2B5EF4-FFF2-40B4-BE49-F238E27FC236}">
                  <a16:creationId xmlns:a16="http://schemas.microsoft.com/office/drawing/2014/main" id="{7DADF60B-ABB3-722F-6238-303C268C5208}"/>
                </a:ext>
              </a:extLst>
            </p:cNvPr>
            <p:cNvSpPr/>
            <p:nvPr/>
          </p:nvSpPr>
          <p:spPr>
            <a:xfrm>
              <a:off x="-2589068" y="3656881"/>
              <a:ext cx="229853" cy="292540"/>
            </a:xfrm>
            <a:custGeom>
              <a:avLst/>
              <a:gdLst>
                <a:gd name="connsiteX0" fmla="*/ 125373 w 229853"/>
                <a:gd name="connsiteY0" fmla="*/ 146270 h 292540"/>
                <a:gd name="connsiteX1" fmla="*/ 229854 w 229853"/>
                <a:gd name="connsiteY1" fmla="*/ 10844 h 292540"/>
                <a:gd name="connsiteX2" fmla="*/ 167167 w 229853"/>
                <a:gd name="connsiteY2" fmla="*/ 0 h 292540"/>
                <a:gd name="connsiteX3" fmla="*/ 0 w 229853"/>
                <a:gd name="connsiteY3" fmla="*/ 146270 h 292540"/>
                <a:gd name="connsiteX4" fmla="*/ 167167 w 229853"/>
                <a:gd name="connsiteY4" fmla="*/ 292541 h 292540"/>
                <a:gd name="connsiteX5" fmla="*/ 229854 w 229853"/>
                <a:gd name="connsiteY5" fmla="*/ 281696 h 292540"/>
                <a:gd name="connsiteX6" fmla="*/ 125373 w 229853"/>
                <a:gd name="connsiteY6" fmla="*/ 146270 h 29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853" h="292540">
                  <a:moveTo>
                    <a:pt x="125373" y="146270"/>
                  </a:moveTo>
                  <a:cubicBezTo>
                    <a:pt x="125373" y="84918"/>
                    <a:pt x="168641" y="32563"/>
                    <a:pt x="229854" y="10844"/>
                  </a:cubicBezTo>
                  <a:cubicBezTo>
                    <a:pt x="210470" y="3968"/>
                    <a:pt x="189369" y="0"/>
                    <a:pt x="167167" y="0"/>
                  </a:cubicBezTo>
                  <a:cubicBezTo>
                    <a:pt x="74840" y="0"/>
                    <a:pt x="0" y="65490"/>
                    <a:pt x="0" y="146270"/>
                  </a:cubicBezTo>
                  <a:cubicBezTo>
                    <a:pt x="0" y="227051"/>
                    <a:pt x="74840" y="292541"/>
                    <a:pt x="167167" y="292541"/>
                  </a:cubicBezTo>
                  <a:cubicBezTo>
                    <a:pt x="189374" y="292541"/>
                    <a:pt x="210470" y="288572"/>
                    <a:pt x="229854" y="281696"/>
                  </a:cubicBezTo>
                  <a:cubicBezTo>
                    <a:pt x="168641" y="259977"/>
                    <a:pt x="125373" y="207622"/>
                    <a:pt x="125373" y="146270"/>
                  </a:cubicBezTo>
                  <a:close/>
                </a:path>
              </a:pathLst>
            </a:custGeom>
            <a:solidFill>
              <a:srgbClr val="694B4B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45B58DFE-7FD1-3C05-D58E-4366F849388C}"/>
                </a:ext>
              </a:extLst>
            </p:cNvPr>
            <p:cNvSpPr/>
            <p:nvPr/>
          </p:nvSpPr>
          <p:spPr>
            <a:xfrm>
              <a:off x="-2798025" y="4367340"/>
              <a:ext cx="752243" cy="585081"/>
            </a:xfrm>
            <a:custGeom>
              <a:avLst/>
              <a:gdLst>
                <a:gd name="connsiteX0" fmla="*/ 682940 w 752243"/>
                <a:gd name="connsiteY0" fmla="*/ 267760 h 585081"/>
                <a:gd name="connsiteX1" fmla="*/ 547698 w 752243"/>
                <a:gd name="connsiteY1" fmla="*/ 200144 h 585081"/>
                <a:gd name="connsiteX2" fmla="*/ 501492 w 752243"/>
                <a:gd name="connsiteY2" fmla="*/ 125378 h 585081"/>
                <a:gd name="connsiteX3" fmla="*/ 501502 w 752243"/>
                <a:gd name="connsiteY3" fmla="*/ 0 h 585081"/>
                <a:gd name="connsiteX4" fmla="*/ 250751 w 752243"/>
                <a:gd name="connsiteY4" fmla="*/ 0 h 585081"/>
                <a:gd name="connsiteX5" fmla="*/ 250751 w 752243"/>
                <a:gd name="connsiteY5" fmla="*/ 125383 h 585081"/>
                <a:gd name="connsiteX6" fmla="*/ 204545 w 752243"/>
                <a:gd name="connsiteY6" fmla="*/ 200139 h 585081"/>
                <a:gd name="connsiteX7" fmla="*/ 69304 w 752243"/>
                <a:gd name="connsiteY7" fmla="*/ 267760 h 585081"/>
                <a:gd name="connsiteX8" fmla="*/ 0 w 752243"/>
                <a:gd name="connsiteY8" fmla="*/ 379898 h 585081"/>
                <a:gd name="connsiteX9" fmla="*/ 0 w 752243"/>
                <a:gd name="connsiteY9" fmla="*/ 543292 h 585081"/>
                <a:gd name="connsiteX10" fmla="*/ 41789 w 752243"/>
                <a:gd name="connsiteY10" fmla="*/ 585081 h 585081"/>
                <a:gd name="connsiteX11" fmla="*/ 710454 w 752243"/>
                <a:gd name="connsiteY11" fmla="*/ 585081 h 585081"/>
                <a:gd name="connsiteX12" fmla="*/ 752244 w 752243"/>
                <a:gd name="connsiteY12" fmla="*/ 543292 h 585081"/>
                <a:gd name="connsiteX13" fmla="*/ 752244 w 752243"/>
                <a:gd name="connsiteY13" fmla="*/ 379903 h 585081"/>
                <a:gd name="connsiteX14" fmla="*/ 682940 w 752243"/>
                <a:gd name="connsiteY14" fmla="*/ 267760 h 58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2243" h="585081">
                  <a:moveTo>
                    <a:pt x="682940" y="267760"/>
                  </a:moveTo>
                  <a:lnTo>
                    <a:pt x="547698" y="200144"/>
                  </a:lnTo>
                  <a:cubicBezTo>
                    <a:pt x="519377" y="185983"/>
                    <a:pt x="501492" y="157040"/>
                    <a:pt x="501492" y="125378"/>
                  </a:cubicBezTo>
                  <a:lnTo>
                    <a:pt x="501502" y="0"/>
                  </a:lnTo>
                  <a:lnTo>
                    <a:pt x="250751" y="0"/>
                  </a:lnTo>
                  <a:lnTo>
                    <a:pt x="250751" y="125383"/>
                  </a:lnTo>
                  <a:cubicBezTo>
                    <a:pt x="250751" y="157040"/>
                    <a:pt x="232866" y="185983"/>
                    <a:pt x="204545" y="200139"/>
                  </a:cubicBezTo>
                  <a:lnTo>
                    <a:pt x="69304" y="267760"/>
                  </a:lnTo>
                  <a:cubicBezTo>
                    <a:pt x="26827" y="288995"/>
                    <a:pt x="0" y="332408"/>
                    <a:pt x="0" y="379898"/>
                  </a:cubicBezTo>
                  <a:lnTo>
                    <a:pt x="0" y="543292"/>
                  </a:lnTo>
                  <a:cubicBezTo>
                    <a:pt x="0" y="566370"/>
                    <a:pt x="18711" y="585081"/>
                    <a:pt x="41789" y="585081"/>
                  </a:cubicBezTo>
                  <a:lnTo>
                    <a:pt x="710454" y="585081"/>
                  </a:lnTo>
                  <a:cubicBezTo>
                    <a:pt x="733537" y="585081"/>
                    <a:pt x="752244" y="566370"/>
                    <a:pt x="752244" y="543292"/>
                  </a:cubicBezTo>
                  <a:lnTo>
                    <a:pt x="752244" y="379903"/>
                  </a:lnTo>
                  <a:cubicBezTo>
                    <a:pt x="752249" y="332413"/>
                    <a:pt x="725416" y="289000"/>
                    <a:pt x="682940" y="267760"/>
                  </a:cubicBezTo>
                  <a:close/>
                </a:path>
              </a:pathLst>
            </a:custGeom>
            <a:solidFill>
              <a:srgbClr val="E6AF78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EE8E2E07-698E-DD4C-14DC-BADE6B5317F8}"/>
                </a:ext>
              </a:extLst>
            </p:cNvPr>
            <p:cNvSpPr/>
            <p:nvPr/>
          </p:nvSpPr>
          <p:spPr>
            <a:xfrm>
              <a:off x="-2549529" y="4367335"/>
              <a:ext cx="255242" cy="167167"/>
            </a:xfrm>
            <a:custGeom>
              <a:avLst/>
              <a:gdLst>
                <a:gd name="connsiteX0" fmla="*/ 127629 w 255242"/>
                <a:gd name="connsiteY0" fmla="*/ 167167 h 167167"/>
                <a:gd name="connsiteX1" fmla="*/ 255242 w 255242"/>
                <a:gd name="connsiteY1" fmla="*/ 141376 h 167167"/>
                <a:gd name="connsiteX2" fmla="*/ 252997 w 255242"/>
                <a:gd name="connsiteY2" fmla="*/ 125378 h 167167"/>
                <a:gd name="connsiteX3" fmla="*/ 253007 w 255242"/>
                <a:gd name="connsiteY3" fmla="*/ 0 h 167167"/>
                <a:gd name="connsiteX4" fmla="*/ 2256 w 255242"/>
                <a:gd name="connsiteY4" fmla="*/ 0 h 167167"/>
                <a:gd name="connsiteX5" fmla="*/ 2256 w 255242"/>
                <a:gd name="connsiteY5" fmla="*/ 125383 h 167167"/>
                <a:gd name="connsiteX6" fmla="*/ 0 w 255242"/>
                <a:gd name="connsiteY6" fmla="*/ 141456 h 167167"/>
                <a:gd name="connsiteX7" fmla="*/ 127629 w 255242"/>
                <a:gd name="connsiteY7" fmla="*/ 167167 h 16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242" h="167167">
                  <a:moveTo>
                    <a:pt x="127629" y="167167"/>
                  </a:moveTo>
                  <a:cubicBezTo>
                    <a:pt x="172629" y="167167"/>
                    <a:pt x="215728" y="157891"/>
                    <a:pt x="255242" y="141376"/>
                  </a:cubicBezTo>
                  <a:cubicBezTo>
                    <a:pt x="254202" y="136108"/>
                    <a:pt x="252997" y="130870"/>
                    <a:pt x="252997" y="125378"/>
                  </a:cubicBezTo>
                  <a:lnTo>
                    <a:pt x="253007" y="0"/>
                  </a:lnTo>
                  <a:lnTo>
                    <a:pt x="2256" y="0"/>
                  </a:lnTo>
                  <a:lnTo>
                    <a:pt x="2256" y="125383"/>
                  </a:lnTo>
                  <a:cubicBezTo>
                    <a:pt x="2256" y="130905"/>
                    <a:pt x="1046" y="136163"/>
                    <a:pt x="0" y="141456"/>
                  </a:cubicBezTo>
                  <a:cubicBezTo>
                    <a:pt x="39534" y="157886"/>
                    <a:pt x="82613" y="167167"/>
                    <a:pt x="127629" y="167167"/>
                  </a:cubicBezTo>
                  <a:close/>
                </a:path>
              </a:pathLst>
            </a:custGeom>
            <a:solidFill>
              <a:srgbClr val="D29B6E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213C58C8-A27A-528A-4D95-E8C92349A95A}"/>
                </a:ext>
              </a:extLst>
            </p:cNvPr>
            <p:cNvSpPr/>
            <p:nvPr/>
          </p:nvSpPr>
          <p:spPr>
            <a:xfrm>
              <a:off x="-2798020" y="4586922"/>
              <a:ext cx="752243" cy="365494"/>
            </a:xfrm>
            <a:custGeom>
              <a:avLst/>
              <a:gdLst>
                <a:gd name="connsiteX0" fmla="*/ 682935 w 752243"/>
                <a:gd name="connsiteY0" fmla="*/ 48178 h 365494"/>
                <a:gd name="connsiteX1" fmla="*/ 586590 w 752243"/>
                <a:gd name="connsiteY1" fmla="*/ 5 h 365494"/>
                <a:gd name="connsiteX2" fmla="*/ 376124 w 752243"/>
                <a:gd name="connsiteY2" fmla="*/ 114748 h 365494"/>
                <a:gd name="connsiteX3" fmla="*/ 165649 w 752243"/>
                <a:gd name="connsiteY3" fmla="*/ 0 h 365494"/>
                <a:gd name="connsiteX4" fmla="*/ 69304 w 752243"/>
                <a:gd name="connsiteY4" fmla="*/ 48178 h 365494"/>
                <a:gd name="connsiteX5" fmla="*/ 0 w 752243"/>
                <a:gd name="connsiteY5" fmla="*/ 160316 h 365494"/>
                <a:gd name="connsiteX6" fmla="*/ 0 w 752243"/>
                <a:gd name="connsiteY6" fmla="*/ 323705 h 365494"/>
                <a:gd name="connsiteX7" fmla="*/ 41789 w 752243"/>
                <a:gd name="connsiteY7" fmla="*/ 365494 h 365494"/>
                <a:gd name="connsiteX8" fmla="*/ 710454 w 752243"/>
                <a:gd name="connsiteY8" fmla="*/ 365494 h 365494"/>
                <a:gd name="connsiteX9" fmla="*/ 752244 w 752243"/>
                <a:gd name="connsiteY9" fmla="*/ 323705 h 365494"/>
                <a:gd name="connsiteX10" fmla="*/ 752244 w 752243"/>
                <a:gd name="connsiteY10" fmla="*/ 160321 h 365494"/>
                <a:gd name="connsiteX11" fmla="*/ 682935 w 752243"/>
                <a:gd name="connsiteY11" fmla="*/ 48178 h 36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2243" h="365494">
                  <a:moveTo>
                    <a:pt x="682935" y="48178"/>
                  </a:moveTo>
                  <a:lnTo>
                    <a:pt x="586590" y="5"/>
                  </a:lnTo>
                  <a:cubicBezTo>
                    <a:pt x="541917" y="68995"/>
                    <a:pt x="464428" y="114748"/>
                    <a:pt x="376124" y="114748"/>
                  </a:cubicBezTo>
                  <a:cubicBezTo>
                    <a:pt x="287815" y="114748"/>
                    <a:pt x="210326" y="68990"/>
                    <a:pt x="165649" y="0"/>
                  </a:cubicBezTo>
                  <a:lnTo>
                    <a:pt x="69304" y="48178"/>
                  </a:lnTo>
                  <a:cubicBezTo>
                    <a:pt x="26827" y="69418"/>
                    <a:pt x="0" y="112826"/>
                    <a:pt x="0" y="160316"/>
                  </a:cubicBezTo>
                  <a:lnTo>
                    <a:pt x="0" y="323705"/>
                  </a:lnTo>
                  <a:cubicBezTo>
                    <a:pt x="0" y="346788"/>
                    <a:pt x="18711" y="365494"/>
                    <a:pt x="41789" y="365494"/>
                  </a:cubicBezTo>
                  <a:lnTo>
                    <a:pt x="710454" y="365494"/>
                  </a:lnTo>
                  <a:cubicBezTo>
                    <a:pt x="733537" y="365494"/>
                    <a:pt x="752244" y="346783"/>
                    <a:pt x="752244" y="323705"/>
                  </a:cubicBezTo>
                  <a:lnTo>
                    <a:pt x="752244" y="160321"/>
                  </a:lnTo>
                  <a:cubicBezTo>
                    <a:pt x="752244" y="112831"/>
                    <a:pt x="725411" y="69418"/>
                    <a:pt x="682935" y="48178"/>
                  </a:cubicBezTo>
                  <a:close/>
                </a:path>
              </a:pathLst>
            </a:custGeom>
            <a:solidFill>
              <a:srgbClr val="9856B4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3" name="Forme libre : forme 242">
              <a:extLst>
                <a:ext uri="{FF2B5EF4-FFF2-40B4-BE49-F238E27FC236}">
                  <a16:creationId xmlns:a16="http://schemas.microsoft.com/office/drawing/2014/main" id="{D8F8790E-CD1C-A3E3-4D77-BC8A6C3D59EE}"/>
                </a:ext>
              </a:extLst>
            </p:cNvPr>
            <p:cNvSpPr/>
            <p:nvPr/>
          </p:nvSpPr>
          <p:spPr>
            <a:xfrm>
              <a:off x="-2714431" y="3782254"/>
              <a:ext cx="585081" cy="585081"/>
            </a:xfrm>
            <a:custGeom>
              <a:avLst/>
              <a:gdLst>
                <a:gd name="connsiteX0" fmla="*/ 585081 w 585081"/>
                <a:gd name="connsiteY0" fmla="*/ 292541 h 585081"/>
                <a:gd name="connsiteX1" fmla="*/ 292541 w 585081"/>
                <a:gd name="connsiteY1" fmla="*/ 585081 h 585081"/>
                <a:gd name="connsiteX2" fmla="*/ 0 w 585081"/>
                <a:gd name="connsiteY2" fmla="*/ 292541 h 585081"/>
                <a:gd name="connsiteX3" fmla="*/ 292541 w 585081"/>
                <a:gd name="connsiteY3" fmla="*/ 0 h 585081"/>
                <a:gd name="connsiteX4" fmla="*/ 585081 w 585081"/>
                <a:gd name="connsiteY4" fmla="*/ 292541 h 58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081" h="585081">
                  <a:moveTo>
                    <a:pt x="585081" y="292541"/>
                  </a:moveTo>
                  <a:cubicBezTo>
                    <a:pt x="585081" y="454106"/>
                    <a:pt x="454106" y="585081"/>
                    <a:pt x="292541" y="585081"/>
                  </a:cubicBezTo>
                  <a:cubicBezTo>
                    <a:pt x="130975" y="585081"/>
                    <a:pt x="0" y="454106"/>
                    <a:pt x="0" y="292541"/>
                  </a:cubicBezTo>
                  <a:cubicBezTo>
                    <a:pt x="0" y="130975"/>
                    <a:pt x="130975" y="0"/>
                    <a:pt x="292541" y="0"/>
                  </a:cubicBezTo>
                  <a:cubicBezTo>
                    <a:pt x="454106" y="0"/>
                    <a:pt x="585081" y="130975"/>
                    <a:pt x="585081" y="292541"/>
                  </a:cubicBezTo>
                  <a:close/>
                </a:path>
              </a:pathLst>
            </a:custGeom>
            <a:solidFill>
              <a:srgbClr val="5A4146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232E6A72-D04F-FD36-4AE0-1871218F5FFB}"/>
                </a:ext>
              </a:extLst>
            </p:cNvPr>
            <p:cNvSpPr/>
            <p:nvPr/>
          </p:nvSpPr>
          <p:spPr>
            <a:xfrm>
              <a:off x="-2554381" y="3782261"/>
              <a:ext cx="425018" cy="526241"/>
            </a:xfrm>
            <a:custGeom>
              <a:avLst/>
              <a:gdLst>
                <a:gd name="connsiteX0" fmla="*/ 422277 w 425018"/>
                <a:gd name="connsiteY0" fmla="*/ 251984 h 526241"/>
                <a:gd name="connsiteX1" fmla="*/ 197397 w 425018"/>
                <a:gd name="connsiteY1" fmla="*/ 7168 h 526241"/>
                <a:gd name="connsiteX2" fmla="*/ 134297 w 425018"/>
                <a:gd name="connsiteY2" fmla="*/ 3 h 526241"/>
                <a:gd name="connsiteX3" fmla="*/ 73339 w 425018"/>
                <a:gd name="connsiteY3" fmla="*/ 254040 h 526241"/>
                <a:gd name="connsiteX4" fmla="*/ 84407 w 425018"/>
                <a:gd name="connsiteY4" fmla="*/ 258820 h 526241"/>
                <a:gd name="connsiteX5" fmla="*/ 229985 w 425018"/>
                <a:gd name="connsiteY5" fmla="*/ 522388 h 526241"/>
                <a:gd name="connsiteX6" fmla="*/ 307903 w 425018"/>
                <a:gd name="connsiteY6" fmla="*/ 526241 h 526241"/>
                <a:gd name="connsiteX7" fmla="*/ 422277 w 425018"/>
                <a:gd name="connsiteY7" fmla="*/ 251984 h 52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5018" h="526241">
                  <a:moveTo>
                    <a:pt x="422277" y="251984"/>
                  </a:moveTo>
                  <a:cubicBezTo>
                    <a:pt x="406200" y="132770"/>
                    <a:pt x="314864" y="33099"/>
                    <a:pt x="197397" y="7168"/>
                  </a:cubicBezTo>
                  <a:cubicBezTo>
                    <a:pt x="175967" y="2438"/>
                    <a:pt x="154876" y="132"/>
                    <a:pt x="134297" y="3"/>
                  </a:cubicBezTo>
                  <a:cubicBezTo>
                    <a:pt x="-5859" y="-873"/>
                    <a:pt x="-52657" y="192648"/>
                    <a:pt x="73339" y="254040"/>
                  </a:cubicBezTo>
                  <a:cubicBezTo>
                    <a:pt x="80115" y="257341"/>
                    <a:pt x="84407" y="258820"/>
                    <a:pt x="84407" y="258820"/>
                  </a:cubicBezTo>
                  <a:lnTo>
                    <a:pt x="229985" y="522388"/>
                  </a:lnTo>
                  <a:cubicBezTo>
                    <a:pt x="229985" y="522388"/>
                    <a:pt x="268777" y="525036"/>
                    <a:pt x="307903" y="526241"/>
                  </a:cubicBezTo>
                  <a:cubicBezTo>
                    <a:pt x="388788" y="465432"/>
                    <a:pt x="437384" y="364003"/>
                    <a:pt x="422277" y="251984"/>
                  </a:cubicBezTo>
                  <a:close/>
                </a:path>
              </a:pathLst>
            </a:custGeom>
            <a:solidFill>
              <a:srgbClr val="694B4B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E79312D1-CDF4-78D2-D67F-31D1C4FC6CAB}"/>
                </a:ext>
              </a:extLst>
            </p:cNvPr>
            <p:cNvSpPr/>
            <p:nvPr/>
          </p:nvSpPr>
          <p:spPr>
            <a:xfrm>
              <a:off x="-2670941" y="4039856"/>
              <a:ext cx="499125" cy="411062"/>
            </a:xfrm>
            <a:custGeom>
              <a:avLst/>
              <a:gdLst>
                <a:gd name="connsiteX0" fmla="*/ 249040 w 499125"/>
                <a:gd name="connsiteY0" fmla="*/ 411063 h 411062"/>
                <a:gd name="connsiteX1" fmla="*/ 249040 w 499125"/>
                <a:gd name="connsiteY1" fmla="*/ 411063 h 411062"/>
                <a:gd name="connsiteX2" fmla="*/ 371 w 499125"/>
                <a:gd name="connsiteY2" fmla="*/ 192770 h 411062"/>
                <a:gd name="connsiteX3" fmla="*/ 22702 w 499125"/>
                <a:gd name="connsiteY3" fmla="*/ 149328 h 411062"/>
                <a:gd name="connsiteX4" fmla="*/ 96671 w 499125"/>
                <a:gd name="connsiteY4" fmla="*/ 99368 h 411062"/>
                <a:gd name="connsiteX5" fmla="*/ 153850 w 499125"/>
                <a:gd name="connsiteY5" fmla="*/ 24124 h 411062"/>
                <a:gd name="connsiteX6" fmla="*/ 200967 w 499125"/>
                <a:gd name="connsiteY6" fmla="*/ 1225 h 411062"/>
                <a:gd name="connsiteX7" fmla="*/ 484635 w 499125"/>
                <a:gd name="connsiteY7" fmla="*/ 146564 h 411062"/>
                <a:gd name="connsiteX8" fmla="*/ 499010 w 499125"/>
                <a:gd name="connsiteY8" fmla="*/ 180163 h 411062"/>
                <a:gd name="connsiteX9" fmla="*/ 249040 w 499125"/>
                <a:gd name="connsiteY9" fmla="*/ 411063 h 411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9125" h="411062">
                  <a:moveTo>
                    <a:pt x="249040" y="411063"/>
                  </a:moveTo>
                  <a:lnTo>
                    <a:pt x="249040" y="411063"/>
                  </a:lnTo>
                  <a:cubicBezTo>
                    <a:pt x="121551" y="411063"/>
                    <a:pt x="16289" y="315922"/>
                    <a:pt x="371" y="192770"/>
                  </a:cubicBezTo>
                  <a:cubicBezTo>
                    <a:pt x="-1935" y="174930"/>
                    <a:pt x="6639" y="157429"/>
                    <a:pt x="22702" y="149328"/>
                  </a:cubicBezTo>
                  <a:cubicBezTo>
                    <a:pt x="41941" y="139618"/>
                    <a:pt x="69903" y="123257"/>
                    <a:pt x="96671" y="99368"/>
                  </a:cubicBezTo>
                  <a:cubicBezTo>
                    <a:pt x="126480" y="72764"/>
                    <a:pt x="143972" y="44717"/>
                    <a:pt x="153850" y="24124"/>
                  </a:cubicBezTo>
                  <a:cubicBezTo>
                    <a:pt x="162360" y="6388"/>
                    <a:pt x="181913" y="-3640"/>
                    <a:pt x="200967" y="1225"/>
                  </a:cubicBezTo>
                  <a:cubicBezTo>
                    <a:pt x="348114" y="38757"/>
                    <a:pt x="448293" y="115311"/>
                    <a:pt x="484635" y="146564"/>
                  </a:cubicBezTo>
                  <a:cubicBezTo>
                    <a:pt x="494394" y="154959"/>
                    <a:pt x="500016" y="167332"/>
                    <a:pt x="499010" y="180163"/>
                  </a:cubicBezTo>
                  <a:cubicBezTo>
                    <a:pt x="488897" y="309370"/>
                    <a:pt x="380846" y="411063"/>
                    <a:pt x="249040" y="411063"/>
                  </a:cubicBezTo>
                  <a:close/>
                </a:path>
              </a:pathLst>
            </a:custGeom>
            <a:solidFill>
              <a:srgbClr val="F0C087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6" name="Forme libre : forme 245">
              <a:extLst>
                <a:ext uri="{FF2B5EF4-FFF2-40B4-BE49-F238E27FC236}">
                  <a16:creationId xmlns:a16="http://schemas.microsoft.com/office/drawing/2014/main" id="{44235A95-0E31-C9B2-8EF3-2C28E6835319}"/>
                </a:ext>
              </a:extLst>
            </p:cNvPr>
            <p:cNvSpPr/>
            <p:nvPr/>
          </p:nvSpPr>
          <p:spPr>
            <a:xfrm>
              <a:off x="-2670946" y="4039858"/>
              <a:ext cx="499131" cy="407530"/>
            </a:xfrm>
            <a:custGeom>
              <a:avLst/>
              <a:gdLst>
                <a:gd name="connsiteX0" fmla="*/ 484645 w 499131"/>
                <a:gd name="connsiteY0" fmla="*/ 146562 h 407530"/>
                <a:gd name="connsiteX1" fmla="*/ 200977 w 499131"/>
                <a:gd name="connsiteY1" fmla="*/ 1223 h 407530"/>
                <a:gd name="connsiteX2" fmla="*/ 153855 w 499131"/>
                <a:gd name="connsiteY2" fmla="*/ 24122 h 407530"/>
                <a:gd name="connsiteX3" fmla="*/ 115666 w 499131"/>
                <a:gd name="connsiteY3" fmla="*/ 79867 h 407530"/>
                <a:gd name="connsiteX4" fmla="*/ 115641 w 499131"/>
                <a:gd name="connsiteY4" fmla="*/ 80007 h 407530"/>
                <a:gd name="connsiteX5" fmla="*/ 96676 w 499131"/>
                <a:gd name="connsiteY5" fmla="*/ 99361 h 407530"/>
                <a:gd name="connsiteX6" fmla="*/ 22702 w 499131"/>
                <a:gd name="connsiteY6" fmla="*/ 149321 h 407530"/>
                <a:gd name="connsiteX7" fmla="*/ 371 w 499131"/>
                <a:gd name="connsiteY7" fmla="*/ 192763 h 407530"/>
                <a:gd name="connsiteX8" fmla="*/ 211020 w 499131"/>
                <a:gd name="connsiteY8" fmla="*/ 407530 h 407530"/>
                <a:gd name="connsiteX9" fmla="*/ 123662 w 499131"/>
                <a:gd name="connsiteY9" fmla="*/ 243893 h 407530"/>
                <a:gd name="connsiteX10" fmla="*/ 123662 w 499131"/>
                <a:gd name="connsiteY10" fmla="*/ 184299 h 407530"/>
                <a:gd name="connsiteX11" fmla="*/ 152322 w 499131"/>
                <a:gd name="connsiteY11" fmla="*/ 161728 h 407530"/>
                <a:gd name="connsiteX12" fmla="*/ 212091 w 499131"/>
                <a:gd name="connsiteY12" fmla="*/ 91215 h 407530"/>
                <a:gd name="connsiteX13" fmla="*/ 429905 w 499131"/>
                <a:gd name="connsiteY13" fmla="*/ 209727 h 407530"/>
                <a:gd name="connsiteX14" fmla="*/ 480478 w 499131"/>
                <a:gd name="connsiteY14" fmla="*/ 256361 h 407530"/>
                <a:gd name="connsiteX15" fmla="*/ 499015 w 499131"/>
                <a:gd name="connsiteY15" fmla="*/ 180156 h 407530"/>
                <a:gd name="connsiteX16" fmla="*/ 484645 w 499131"/>
                <a:gd name="connsiteY16" fmla="*/ 146562 h 40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9131" h="407530">
                  <a:moveTo>
                    <a:pt x="484645" y="146562"/>
                  </a:moveTo>
                  <a:cubicBezTo>
                    <a:pt x="448303" y="115308"/>
                    <a:pt x="348124" y="38755"/>
                    <a:pt x="200977" y="1223"/>
                  </a:cubicBezTo>
                  <a:cubicBezTo>
                    <a:pt x="181918" y="-3637"/>
                    <a:pt x="162365" y="6391"/>
                    <a:pt x="153855" y="24122"/>
                  </a:cubicBezTo>
                  <a:cubicBezTo>
                    <a:pt x="146372" y="39716"/>
                    <a:pt x="134014" y="59588"/>
                    <a:pt x="115666" y="79867"/>
                  </a:cubicBezTo>
                  <a:cubicBezTo>
                    <a:pt x="115661" y="79917"/>
                    <a:pt x="115646" y="79957"/>
                    <a:pt x="115641" y="80007"/>
                  </a:cubicBezTo>
                  <a:cubicBezTo>
                    <a:pt x="109950" y="86460"/>
                    <a:pt x="103885" y="92928"/>
                    <a:pt x="96676" y="99361"/>
                  </a:cubicBezTo>
                  <a:cubicBezTo>
                    <a:pt x="69903" y="123250"/>
                    <a:pt x="41946" y="139611"/>
                    <a:pt x="22702" y="149321"/>
                  </a:cubicBezTo>
                  <a:cubicBezTo>
                    <a:pt x="6639" y="157426"/>
                    <a:pt x="-1935" y="174923"/>
                    <a:pt x="371" y="192763"/>
                  </a:cubicBezTo>
                  <a:cubicBezTo>
                    <a:pt x="14665" y="303368"/>
                    <a:pt x="101217" y="390741"/>
                    <a:pt x="211020" y="407530"/>
                  </a:cubicBezTo>
                  <a:cubicBezTo>
                    <a:pt x="160985" y="373488"/>
                    <a:pt x="123662" y="327342"/>
                    <a:pt x="123662" y="243893"/>
                  </a:cubicBezTo>
                  <a:lnTo>
                    <a:pt x="123662" y="184299"/>
                  </a:lnTo>
                  <a:cubicBezTo>
                    <a:pt x="133157" y="177293"/>
                    <a:pt x="142712" y="170302"/>
                    <a:pt x="152322" y="161728"/>
                  </a:cubicBezTo>
                  <a:cubicBezTo>
                    <a:pt x="175549" y="141001"/>
                    <a:pt x="195829" y="117026"/>
                    <a:pt x="212091" y="91215"/>
                  </a:cubicBezTo>
                  <a:cubicBezTo>
                    <a:pt x="324658" y="126342"/>
                    <a:pt x="400972" y="184846"/>
                    <a:pt x="429905" y="209727"/>
                  </a:cubicBezTo>
                  <a:cubicBezTo>
                    <a:pt x="437822" y="216672"/>
                    <a:pt x="457479" y="234786"/>
                    <a:pt x="480478" y="256361"/>
                  </a:cubicBezTo>
                  <a:cubicBezTo>
                    <a:pt x="490371" y="232551"/>
                    <a:pt x="496914" y="207003"/>
                    <a:pt x="499015" y="180156"/>
                  </a:cubicBezTo>
                  <a:cubicBezTo>
                    <a:pt x="500026" y="167330"/>
                    <a:pt x="494404" y="154952"/>
                    <a:pt x="484645" y="146562"/>
                  </a:cubicBezTo>
                  <a:close/>
                </a:path>
              </a:pathLst>
            </a:custGeom>
            <a:solidFill>
              <a:srgbClr val="E6AF78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47" name="Graphique 38">
              <a:extLst>
                <a:ext uri="{FF2B5EF4-FFF2-40B4-BE49-F238E27FC236}">
                  <a16:creationId xmlns:a16="http://schemas.microsoft.com/office/drawing/2014/main" id="{FFF53FE9-7D18-7563-6E1A-7546B5D660A6}"/>
                </a:ext>
              </a:extLst>
            </p:cNvPr>
            <p:cNvGrpSpPr/>
            <p:nvPr/>
          </p:nvGrpSpPr>
          <p:grpSpPr>
            <a:xfrm>
              <a:off x="-2798025" y="4671905"/>
              <a:ext cx="752248" cy="280516"/>
              <a:chOff x="-2798025" y="4671905"/>
              <a:chExt cx="752248" cy="280516"/>
            </a:xfrm>
            <a:solidFill>
              <a:srgbClr val="C7CFE2"/>
            </a:solidFill>
          </p:grpSpPr>
          <p:sp>
            <p:nvSpPr>
              <p:cNvPr id="261" name="Forme libre : forme 260">
                <a:extLst>
                  <a:ext uri="{FF2B5EF4-FFF2-40B4-BE49-F238E27FC236}">
                    <a16:creationId xmlns:a16="http://schemas.microsoft.com/office/drawing/2014/main" id="{FD61219D-A6A0-43BB-828E-67C64C87160F}"/>
                  </a:ext>
                </a:extLst>
              </p:cNvPr>
              <p:cNvSpPr/>
              <p:nvPr/>
            </p:nvSpPr>
            <p:spPr>
              <a:xfrm>
                <a:off x="-2798025" y="4671905"/>
                <a:ext cx="167162" cy="280516"/>
              </a:xfrm>
              <a:custGeom>
                <a:avLst/>
                <a:gdLst>
                  <a:gd name="connsiteX0" fmla="*/ 25478 w 167162"/>
                  <a:gd name="connsiteY0" fmla="*/ 0 h 280516"/>
                  <a:gd name="connsiteX1" fmla="*/ 0 w 167162"/>
                  <a:gd name="connsiteY1" fmla="*/ 75338 h 280516"/>
                  <a:gd name="connsiteX2" fmla="*/ 0 w 167162"/>
                  <a:gd name="connsiteY2" fmla="*/ 238727 h 280516"/>
                  <a:gd name="connsiteX3" fmla="*/ 41789 w 167162"/>
                  <a:gd name="connsiteY3" fmla="*/ 280516 h 280516"/>
                  <a:gd name="connsiteX4" fmla="*/ 167162 w 167162"/>
                  <a:gd name="connsiteY4" fmla="*/ 280516 h 280516"/>
                  <a:gd name="connsiteX5" fmla="*/ 167162 w 167162"/>
                  <a:gd name="connsiteY5" fmla="*/ 153520 h 280516"/>
                  <a:gd name="connsiteX6" fmla="*/ 135794 w 167162"/>
                  <a:gd name="connsiteY6" fmla="*/ 88254 h 280516"/>
                  <a:gd name="connsiteX7" fmla="*/ 25478 w 167162"/>
                  <a:gd name="connsiteY7" fmla="*/ 0 h 28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162" h="280516">
                    <a:moveTo>
                      <a:pt x="25478" y="0"/>
                    </a:moveTo>
                    <a:cubicBezTo>
                      <a:pt x="9376" y="21360"/>
                      <a:pt x="0" y="47575"/>
                      <a:pt x="0" y="75338"/>
                    </a:cubicBezTo>
                    <a:lnTo>
                      <a:pt x="0" y="238727"/>
                    </a:lnTo>
                    <a:cubicBezTo>
                      <a:pt x="0" y="261810"/>
                      <a:pt x="18711" y="280516"/>
                      <a:pt x="41789" y="280516"/>
                    </a:cubicBezTo>
                    <a:lnTo>
                      <a:pt x="167162" y="280516"/>
                    </a:lnTo>
                    <a:lnTo>
                      <a:pt x="167162" y="153520"/>
                    </a:lnTo>
                    <a:cubicBezTo>
                      <a:pt x="167162" y="128127"/>
                      <a:pt x="155621" y="104112"/>
                      <a:pt x="135794" y="88254"/>
                    </a:cubicBezTo>
                    <a:lnTo>
                      <a:pt x="25478" y="0"/>
                    </a:lnTo>
                    <a:close/>
                  </a:path>
                </a:pathLst>
              </a:custGeom>
              <a:solidFill>
                <a:srgbClr val="582974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62" name="Forme libre : forme 261">
                <a:extLst>
                  <a:ext uri="{FF2B5EF4-FFF2-40B4-BE49-F238E27FC236}">
                    <a16:creationId xmlns:a16="http://schemas.microsoft.com/office/drawing/2014/main" id="{D7946243-4E97-04E1-B2E5-9C17806B6FCC}"/>
                  </a:ext>
                </a:extLst>
              </p:cNvPr>
              <p:cNvSpPr/>
              <p:nvPr/>
            </p:nvSpPr>
            <p:spPr>
              <a:xfrm>
                <a:off x="-2212939" y="4671905"/>
                <a:ext cx="167162" cy="280516"/>
              </a:xfrm>
              <a:custGeom>
                <a:avLst/>
                <a:gdLst>
                  <a:gd name="connsiteX0" fmla="*/ 141685 w 167162"/>
                  <a:gd name="connsiteY0" fmla="*/ 0 h 280516"/>
                  <a:gd name="connsiteX1" fmla="*/ 167162 w 167162"/>
                  <a:gd name="connsiteY1" fmla="*/ 75338 h 280516"/>
                  <a:gd name="connsiteX2" fmla="*/ 167162 w 167162"/>
                  <a:gd name="connsiteY2" fmla="*/ 238727 h 280516"/>
                  <a:gd name="connsiteX3" fmla="*/ 125373 w 167162"/>
                  <a:gd name="connsiteY3" fmla="*/ 280516 h 280516"/>
                  <a:gd name="connsiteX4" fmla="*/ 0 w 167162"/>
                  <a:gd name="connsiteY4" fmla="*/ 280516 h 280516"/>
                  <a:gd name="connsiteX5" fmla="*/ 0 w 167162"/>
                  <a:gd name="connsiteY5" fmla="*/ 153520 h 280516"/>
                  <a:gd name="connsiteX6" fmla="*/ 31368 w 167162"/>
                  <a:gd name="connsiteY6" fmla="*/ 88254 h 280516"/>
                  <a:gd name="connsiteX7" fmla="*/ 141685 w 167162"/>
                  <a:gd name="connsiteY7" fmla="*/ 0 h 28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162" h="280516">
                    <a:moveTo>
                      <a:pt x="141685" y="0"/>
                    </a:moveTo>
                    <a:cubicBezTo>
                      <a:pt x="157787" y="21360"/>
                      <a:pt x="167162" y="47575"/>
                      <a:pt x="167162" y="75338"/>
                    </a:cubicBezTo>
                    <a:lnTo>
                      <a:pt x="167162" y="238727"/>
                    </a:lnTo>
                    <a:cubicBezTo>
                      <a:pt x="167162" y="261810"/>
                      <a:pt x="148451" y="280516"/>
                      <a:pt x="125373" y="280516"/>
                    </a:cubicBezTo>
                    <a:lnTo>
                      <a:pt x="0" y="280516"/>
                    </a:lnTo>
                    <a:lnTo>
                      <a:pt x="0" y="153520"/>
                    </a:lnTo>
                    <a:cubicBezTo>
                      <a:pt x="0" y="128127"/>
                      <a:pt x="11541" y="104112"/>
                      <a:pt x="31368" y="88254"/>
                    </a:cubicBezTo>
                    <a:lnTo>
                      <a:pt x="141685" y="0"/>
                    </a:lnTo>
                    <a:close/>
                  </a:path>
                </a:pathLst>
              </a:custGeom>
              <a:solidFill>
                <a:srgbClr val="582974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248" name="Graphique 38">
              <a:extLst>
                <a:ext uri="{FF2B5EF4-FFF2-40B4-BE49-F238E27FC236}">
                  <a16:creationId xmlns:a16="http://schemas.microsoft.com/office/drawing/2014/main" id="{9C7C522B-EEC0-1F18-51F2-FA2FC1A1CC4B}"/>
                </a:ext>
              </a:extLst>
            </p:cNvPr>
            <p:cNvGrpSpPr/>
            <p:nvPr/>
          </p:nvGrpSpPr>
          <p:grpSpPr>
            <a:xfrm>
              <a:off x="-2510468" y="4158383"/>
              <a:ext cx="1774064" cy="1671649"/>
              <a:chOff x="-2510468" y="4158383"/>
              <a:chExt cx="1774064" cy="1671649"/>
            </a:xfrm>
            <a:solidFill>
              <a:srgbClr val="D5DCED"/>
            </a:solidFill>
          </p:grpSpPr>
          <p:sp>
            <p:nvSpPr>
              <p:cNvPr id="259" name="Forme libre : forme 258">
                <a:extLst>
                  <a:ext uri="{FF2B5EF4-FFF2-40B4-BE49-F238E27FC236}">
                    <a16:creationId xmlns:a16="http://schemas.microsoft.com/office/drawing/2014/main" id="{292DB08C-EE87-DBCC-5DBC-2FEBFD5D12EE}"/>
                  </a:ext>
                </a:extLst>
              </p:cNvPr>
              <p:cNvSpPr/>
              <p:nvPr/>
            </p:nvSpPr>
            <p:spPr>
              <a:xfrm>
                <a:off x="-2098064" y="4158383"/>
                <a:ext cx="1361660" cy="763471"/>
              </a:xfrm>
              <a:custGeom>
                <a:avLst/>
                <a:gdLst>
                  <a:gd name="connsiteX0" fmla="*/ 1331949 w 1361660"/>
                  <a:gd name="connsiteY0" fmla="*/ 463417 h 763471"/>
                  <a:gd name="connsiteX1" fmla="*/ 1279873 w 1361660"/>
                  <a:gd name="connsiteY1" fmla="*/ 491355 h 763471"/>
                  <a:gd name="connsiteX2" fmla="*/ 1258896 w 1361660"/>
                  <a:gd name="connsiteY2" fmla="*/ 560788 h 763471"/>
                  <a:gd name="connsiteX3" fmla="*/ 470201 w 1361660"/>
                  <a:gd name="connsiteY3" fmla="*/ 0 h 763471"/>
                  <a:gd name="connsiteX4" fmla="*/ 19226 w 1361660"/>
                  <a:gd name="connsiteY4" fmla="*/ 132005 h 763471"/>
                  <a:gd name="connsiteX5" fmla="*/ 6614 w 1361660"/>
                  <a:gd name="connsiteY5" fmla="*/ 189753 h 763471"/>
                  <a:gd name="connsiteX6" fmla="*/ 64362 w 1361660"/>
                  <a:gd name="connsiteY6" fmla="*/ 202325 h 763471"/>
                  <a:gd name="connsiteX7" fmla="*/ 470196 w 1361660"/>
                  <a:gd name="connsiteY7" fmla="*/ 83584 h 763471"/>
                  <a:gd name="connsiteX8" fmla="*/ 1180466 w 1361660"/>
                  <a:gd name="connsiteY8" fmla="*/ 587680 h 763471"/>
                  <a:gd name="connsiteX9" fmla="*/ 1123595 w 1361660"/>
                  <a:gd name="connsiteY9" fmla="*/ 530027 h 763471"/>
                  <a:gd name="connsiteX10" fmla="*/ 1064498 w 1361660"/>
                  <a:gd name="connsiteY10" fmla="*/ 529619 h 763471"/>
                  <a:gd name="connsiteX11" fmla="*/ 1064090 w 1361660"/>
                  <a:gd name="connsiteY11" fmla="*/ 588716 h 763471"/>
                  <a:gd name="connsiteX12" fmla="*/ 1224197 w 1361660"/>
                  <a:gd name="connsiteY12" fmla="*/ 751024 h 763471"/>
                  <a:gd name="connsiteX13" fmla="*/ 1253947 w 1361660"/>
                  <a:gd name="connsiteY13" fmla="*/ 763471 h 763471"/>
                  <a:gd name="connsiteX14" fmla="*/ 1263985 w 1361660"/>
                  <a:gd name="connsiteY14" fmla="*/ 762246 h 763471"/>
                  <a:gd name="connsiteX15" fmla="*/ 1293939 w 1361660"/>
                  <a:gd name="connsiteY15" fmla="*/ 733761 h 763471"/>
                  <a:gd name="connsiteX16" fmla="*/ 1359852 w 1361660"/>
                  <a:gd name="connsiteY16" fmla="*/ 515518 h 763471"/>
                  <a:gd name="connsiteX17" fmla="*/ 1331949 w 1361660"/>
                  <a:gd name="connsiteY17" fmla="*/ 463417 h 7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61660" h="763471">
                    <a:moveTo>
                      <a:pt x="1331949" y="463417"/>
                    </a:moveTo>
                    <a:cubicBezTo>
                      <a:pt x="1309827" y="456845"/>
                      <a:pt x="1286525" y="469273"/>
                      <a:pt x="1279873" y="491355"/>
                    </a:cubicBezTo>
                    <a:lnTo>
                      <a:pt x="1258896" y="560788"/>
                    </a:lnTo>
                    <a:cubicBezTo>
                      <a:pt x="1144607" y="228808"/>
                      <a:pt x="833509" y="0"/>
                      <a:pt x="470201" y="0"/>
                    </a:cubicBezTo>
                    <a:cubicBezTo>
                      <a:pt x="309646" y="0"/>
                      <a:pt x="153701" y="45648"/>
                      <a:pt x="19226" y="132005"/>
                    </a:cubicBezTo>
                    <a:cubicBezTo>
                      <a:pt x="-202" y="144473"/>
                      <a:pt x="-5834" y="170329"/>
                      <a:pt x="6614" y="189753"/>
                    </a:cubicBezTo>
                    <a:cubicBezTo>
                      <a:pt x="19102" y="209136"/>
                      <a:pt x="44898" y="214772"/>
                      <a:pt x="64362" y="202325"/>
                    </a:cubicBezTo>
                    <a:cubicBezTo>
                      <a:pt x="185328" y="124641"/>
                      <a:pt x="325683" y="83584"/>
                      <a:pt x="470196" y="83584"/>
                    </a:cubicBezTo>
                    <a:cubicBezTo>
                      <a:pt x="797047" y="83584"/>
                      <a:pt x="1077454" y="289120"/>
                      <a:pt x="1180466" y="587680"/>
                    </a:cubicBezTo>
                    <a:lnTo>
                      <a:pt x="1123595" y="530027"/>
                    </a:lnTo>
                    <a:cubicBezTo>
                      <a:pt x="1107393" y="513601"/>
                      <a:pt x="1080864" y="513417"/>
                      <a:pt x="1064498" y="529619"/>
                    </a:cubicBezTo>
                    <a:cubicBezTo>
                      <a:pt x="1048052" y="545821"/>
                      <a:pt x="1047888" y="572290"/>
                      <a:pt x="1064090" y="588716"/>
                    </a:cubicBezTo>
                    <a:lnTo>
                      <a:pt x="1224197" y="751024"/>
                    </a:lnTo>
                    <a:cubicBezTo>
                      <a:pt x="1232154" y="759085"/>
                      <a:pt x="1242888" y="763471"/>
                      <a:pt x="1253947" y="763471"/>
                    </a:cubicBezTo>
                    <a:cubicBezTo>
                      <a:pt x="1257293" y="763471"/>
                      <a:pt x="1260679" y="763063"/>
                      <a:pt x="1263985" y="762246"/>
                    </a:cubicBezTo>
                    <a:cubicBezTo>
                      <a:pt x="1278310" y="758696"/>
                      <a:pt x="1289697" y="747882"/>
                      <a:pt x="1293939" y="733761"/>
                    </a:cubicBezTo>
                    <a:lnTo>
                      <a:pt x="1359852" y="515518"/>
                    </a:lnTo>
                    <a:cubicBezTo>
                      <a:pt x="1366559" y="493416"/>
                      <a:pt x="1354026" y="470089"/>
                      <a:pt x="1331949" y="463417"/>
                    </a:cubicBezTo>
                    <a:close/>
                  </a:path>
                </a:pathLst>
              </a:custGeom>
              <a:solidFill>
                <a:srgbClr val="FF9B1E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60" name="Forme libre : forme 259">
                <a:extLst>
                  <a:ext uri="{FF2B5EF4-FFF2-40B4-BE49-F238E27FC236}">
                    <a16:creationId xmlns:a16="http://schemas.microsoft.com/office/drawing/2014/main" id="{E567F170-EBE9-F98F-8336-7D7DF2ED9A0A}"/>
                  </a:ext>
                </a:extLst>
              </p:cNvPr>
              <p:cNvSpPr/>
              <p:nvPr/>
            </p:nvSpPr>
            <p:spPr>
              <a:xfrm>
                <a:off x="-2510468" y="5073652"/>
                <a:ext cx="1352801" cy="756380"/>
              </a:xfrm>
              <a:custGeom>
                <a:avLst/>
                <a:gdLst>
                  <a:gd name="connsiteX0" fmla="*/ 1288440 w 1352801"/>
                  <a:gd name="connsiteY0" fmla="*/ 554066 h 756380"/>
                  <a:gd name="connsiteX1" fmla="*/ 882606 w 1352801"/>
                  <a:gd name="connsiteY1" fmla="*/ 672807 h 756380"/>
                  <a:gd name="connsiteX2" fmla="*/ 173381 w 1352801"/>
                  <a:gd name="connsiteY2" fmla="*/ 168810 h 756380"/>
                  <a:gd name="connsiteX3" fmla="*/ 236551 w 1352801"/>
                  <a:gd name="connsiteY3" fmla="*/ 226995 h 756380"/>
                  <a:gd name="connsiteX4" fmla="*/ 295608 w 1352801"/>
                  <a:gd name="connsiteY4" fmla="*/ 224566 h 756380"/>
                  <a:gd name="connsiteX5" fmla="*/ 293198 w 1352801"/>
                  <a:gd name="connsiteY5" fmla="*/ 165529 h 756380"/>
                  <a:gd name="connsiteX6" fmla="*/ 125503 w 1352801"/>
                  <a:gd name="connsiteY6" fmla="*/ 11073 h 756380"/>
                  <a:gd name="connsiteX7" fmla="*/ 85222 w 1352801"/>
                  <a:gd name="connsiteY7" fmla="*/ 1767 h 756380"/>
                  <a:gd name="connsiteX8" fmla="*/ 56652 w 1352801"/>
                  <a:gd name="connsiteY8" fmla="*/ 31661 h 756380"/>
                  <a:gd name="connsiteX9" fmla="*/ 1270 w 1352801"/>
                  <a:gd name="connsiteY9" fmla="*/ 252822 h 756380"/>
                  <a:gd name="connsiteX10" fmla="*/ 31632 w 1352801"/>
                  <a:gd name="connsiteY10" fmla="*/ 303509 h 756380"/>
                  <a:gd name="connsiteX11" fmla="*/ 41834 w 1352801"/>
                  <a:gd name="connsiteY11" fmla="*/ 304754 h 756380"/>
                  <a:gd name="connsiteX12" fmla="*/ 82319 w 1352801"/>
                  <a:gd name="connsiteY12" fmla="*/ 273102 h 756380"/>
                  <a:gd name="connsiteX13" fmla="*/ 98695 w 1352801"/>
                  <a:gd name="connsiteY13" fmla="*/ 207766 h 756380"/>
                  <a:gd name="connsiteX14" fmla="*/ 882601 w 1352801"/>
                  <a:gd name="connsiteY14" fmla="*/ 756381 h 756380"/>
                  <a:gd name="connsiteX15" fmla="*/ 1333575 w 1352801"/>
                  <a:gd name="connsiteY15" fmla="*/ 624375 h 756380"/>
                  <a:gd name="connsiteX16" fmla="*/ 1346187 w 1352801"/>
                  <a:gd name="connsiteY16" fmla="*/ 566628 h 756380"/>
                  <a:gd name="connsiteX17" fmla="*/ 1288440 w 1352801"/>
                  <a:gd name="connsiteY17" fmla="*/ 554066 h 756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52801" h="756380">
                    <a:moveTo>
                      <a:pt x="1288440" y="554066"/>
                    </a:moveTo>
                    <a:cubicBezTo>
                      <a:pt x="1167473" y="631749"/>
                      <a:pt x="1027118" y="672807"/>
                      <a:pt x="882606" y="672807"/>
                    </a:cubicBezTo>
                    <a:cubicBezTo>
                      <a:pt x="555944" y="672807"/>
                      <a:pt x="276468" y="467116"/>
                      <a:pt x="173381" y="168810"/>
                    </a:cubicBezTo>
                    <a:lnTo>
                      <a:pt x="236551" y="226995"/>
                    </a:lnTo>
                    <a:cubicBezTo>
                      <a:pt x="253569" y="242645"/>
                      <a:pt x="279934" y="241584"/>
                      <a:pt x="295608" y="224566"/>
                    </a:cubicBezTo>
                    <a:cubicBezTo>
                      <a:pt x="311237" y="207587"/>
                      <a:pt x="310176" y="181163"/>
                      <a:pt x="293198" y="165529"/>
                    </a:cubicBezTo>
                    <a:lnTo>
                      <a:pt x="125503" y="11073"/>
                    </a:lnTo>
                    <a:cubicBezTo>
                      <a:pt x="114603" y="1035"/>
                      <a:pt x="99218" y="-2475"/>
                      <a:pt x="85222" y="1767"/>
                    </a:cubicBezTo>
                    <a:cubicBezTo>
                      <a:pt x="71061" y="5989"/>
                      <a:pt x="60202" y="17337"/>
                      <a:pt x="56652" y="31661"/>
                    </a:cubicBezTo>
                    <a:lnTo>
                      <a:pt x="1270" y="252822"/>
                    </a:lnTo>
                    <a:cubicBezTo>
                      <a:pt x="-4362" y="275208"/>
                      <a:pt x="9271" y="297897"/>
                      <a:pt x="31632" y="303509"/>
                    </a:cubicBezTo>
                    <a:cubicBezTo>
                      <a:pt x="35063" y="304345"/>
                      <a:pt x="38448" y="304754"/>
                      <a:pt x="41834" y="304754"/>
                    </a:cubicBezTo>
                    <a:cubicBezTo>
                      <a:pt x="60526" y="304754"/>
                      <a:pt x="77584" y="292102"/>
                      <a:pt x="82319" y="273102"/>
                    </a:cubicBezTo>
                    <a:lnTo>
                      <a:pt x="98695" y="207766"/>
                    </a:lnTo>
                    <a:cubicBezTo>
                      <a:pt x="216361" y="533049"/>
                      <a:pt x="523829" y="756381"/>
                      <a:pt x="882601" y="756381"/>
                    </a:cubicBezTo>
                    <a:cubicBezTo>
                      <a:pt x="1043156" y="756381"/>
                      <a:pt x="1199101" y="710732"/>
                      <a:pt x="1333575" y="624375"/>
                    </a:cubicBezTo>
                    <a:cubicBezTo>
                      <a:pt x="1353004" y="611908"/>
                      <a:pt x="1358635" y="586051"/>
                      <a:pt x="1346187" y="566628"/>
                    </a:cubicBezTo>
                    <a:cubicBezTo>
                      <a:pt x="1333705" y="547229"/>
                      <a:pt x="1307868" y="541534"/>
                      <a:pt x="1288440" y="554066"/>
                    </a:cubicBezTo>
                    <a:close/>
                  </a:path>
                </a:pathLst>
              </a:custGeom>
              <a:solidFill>
                <a:srgbClr val="FF9B1E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8F09BAC6-F5AF-A542-1E11-6EE1E2FE8752}"/>
                </a:ext>
              </a:extLst>
            </p:cNvPr>
            <p:cNvSpPr/>
            <p:nvPr/>
          </p:nvSpPr>
          <p:spPr>
            <a:xfrm>
              <a:off x="-1251743" y="5662875"/>
              <a:ext cx="835837" cy="543286"/>
            </a:xfrm>
            <a:custGeom>
              <a:avLst/>
              <a:gdLst>
                <a:gd name="connsiteX0" fmla="*/ 744905 w 835837"/>
                <a:gd name="connsiteY0" fmla="*/ 158987 h 543286"/>
                <a:gd name="connsiteX1" fmla="*/ 573609 w 835837"/>
                <a:gd name="connsiteY1" fmla="*/ 110047 h 543286"/>
                <a:gd name="connsiteX2" fmla="*/ 543297 w 835837"/>
                <a:gd name="connsiteY2" fmla="*/ 69861 h 543286"/>
                <a:gd name="connsiteX3" fmla="*/ 543297 w 835837"/>
                <a:gd name="connsiteY3" fmla="*/ 0 h 543286"/>
                <a:gd name="connsiteX4" fmla="*/ 292546 w 835837"/>
                <a:gd name="connsiteY4" fmla="*/ 0 h 543286"/>
                <a:gd name="connsiteX5" fmla="*/ 292546 w 835837"/>
                <a:gd name="connsiteY5" fmla="*/ 69856 h 543286"/>
                <a:gd name="connsiteX6" fmla="*/ 262233 w 835837"/>
                <a:gd name="connsiteY6" fmla="*/ 110037 h 543286"/>
                <a:gd name="connsiteX7" fmla="*/ 90933 w 835837"/>
                <a:gd name="connsiteY7" fmla="*/ 158982 h 543286"/>
                <a:gd name="connsiteX8" fmla="*/ 0 w 835837"/>
                <a:gd name="connsiteY8" fmla="*/ 279535 h 543286"/>
                <a:gd name="connsiteX9" fmla="*/ 0 w 835837"/>
                <a:gd name="connsiteY9" fmla="*/ 501497 h 543286"/>
                <a:gd name="connsiteX10" fmla="*/ 41789 w 835837"/>
                <a:gd name="connsiteY10" fmla="*/ 543287 h 543286"/>
                <a:gd name="connsiteX11" fmla="*/ 794048 w 835837"/>
                <a:gd name="connsiteY11" fmla="*/ 543287 h 543286"/>
                <a:gd name="connsiteX12" fmla="*/ 835837 w 835837"/>
                <a:gd name="connsiteY12" fmla="*/ 501497 h 543286"/>
                <a:gd name="connsiteX13" fmla="*/ 835837 w 835837"/>
                <a:gd name="connsiteY13" fmla="*/ 279535 h 543286"/>
                <a:gd name="connsiteX14" fmla="*/ 744905 w 835837"/>
                <a:gd name="connsiteY14" fmla="*/ 158987 h 54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35837" h="543286">
                  <a:moveTo>
                    <a:pt x="744905" y="158987"/>
                  </a:moveTo>
                  <a:lnTo>
                    <a:pt x="573609" y="110047"/>
                  </a:lnTo>
                  <a:cubicBezTo>
                    <a:pt x="555670" y="104924"/>
                    <a:pt x="543297" y="88523"/>
                    <a:pt x="543297" y="69861"/>
                  </a:cubicBezTo>
                  <a:lnTo>
                    <a:pt x="543297" y="0"/>
                  </a:lnTo>
                  <a:lnTo>
                    <a:pt x="292546" y="0"/>
                  </a:lnTo>
                  <a:lnTo>
                    <a:pt x="292546" y="69856"/>
                  </a:lnTo>
                  <a:cubicBezTo>
                    <a:pt x="292546" y="88513"/>
                    <a:pt x="280178" y="104914"/>
                    <a:pt x="262233" y="110037"/>
                  </a:cubicBezTo>
                  <a:lnTo>
                    <a:pt x="90933" y="158982"/>
                  </a:lnTo>
                  <a:cubicBezTo>
                    <a:pt x="37109" y="174362"/>
                    <a:pt x="0" y="223555"/>
                    <a:pt x="0" y="279535"/>
                  </a:cubicBezTo>
                  <a:lnTo>
                    <a:pt x="0" y="501497"/>
                  </a:lnTo>
                  <a:cubicBezTo>
                    <a:pt x="0" y="524580"/>
                    <a:pt x="18711" y="543287"/>
                    <a:pt x="41789" y="543287"/>
                  </a:cubicBezTo>
                  <a:lnTo>
                    <a:pt x="794048" y="543287"/>
                  </a:lnTo>
                  <a:cubicBezTo>
                    <a:pt x="817131" y="543287"/>
                    <a:pt x="835837" y="524575"/>
                    <a:pt x="835837" y="501497"/>
                  </a:cubicBezTo>
                  <a:lnTo>
                    <a:pt x="835837" y="279535"/>
                  </a:lnTo>
                  <a:cubicBezTo>
                    <a:pt x="835837" y="223560"/>
                    <a:pt x="798728" y="174367"/>
                    <a:pt x="744905" y="158987"/>
                  </a:cubicBezTo>
                  <a:close/>
                </a:path>
              </a:pathLst>
            </a:custGeom>
            <a:solidFill>
              <a:srgbClr val="E6AF78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965F1D51-8415-FAA8-83A2-B1E83DD315F3}"/>
                </a:ext>
              </a:extLst>
            </p:cNvPr>
            <p:cNvSpPr/>
            <p:nvPr/>
          </p:nvSpPr>
          <p:spPr>
            <a:xfrm>
              <a:off x="-1251738" y="5777105"/>
              <a:ext cx="835832" cy="429061"/>
            </a:xfrm>
            <a:custGeom>
              <a:avLst/>
              <a:gdLst>
                <a:gd name="connsiteX0" fmla="*/ 744899 w 835832"/>
                <a:gd name="connsiteY0" fmla="*/ 44757 h 429061"/>
                <a:gd name="connsiteX1" fmla="*/ 588243 w 835832"/>
                <a:gd name="connsiteY1" fmla="*/ 0 h 429061"/>
                <a:gd name="connsiteX2" fmla="*/ 412845 w 835832"/>
                <a:gd name="connsiteY2" fmla="*/ 129705 h 429061"/>
                <a:gd name="connsiteX3" fmla="*/ 238274 w 835832"/>
                <a:gd name="connsiteY3" fmla="*/ 2659 h 429061"/>
                <a:gd name="connsiteX4" fmla="*/ 90928 w 835832"/>
                <a:gd name="connsiteY4" fmla="*/ 44757 h 429061"/>
                <a:gd name="connsiteX5" fmla="*/ 0 w 835832"/>
                <a:gd name="connsiteY5" fmla="*/ 165310 h 429061"/>
                <a:gd name="connsiteX6" fmla="*/ 0 w 835832"/>
                <a:gd name="connsiteY6" fmla="*/ 387272 h 429061"/>
                <a:gd name="connsiteX7" fmla="*/ 41789 w 835832"/>
                <a:gd name="connsiteY7" fmla="*/ 429062 h 429061"/>
                <a:gd name="connsiteX8" fmla="*/ 794043 w 835832"/>
                <a:gd name="connsiteY8" fmla="*/ 429062 h 429061"/>
                <a:gd name="connsiteX9" fmla="*/ 835832 w 835832"/>
                <a:gd name="connsiteY9" fmla="*/ 387272 h 429061"/>
                <a:gd name="connsiteX10" fmla="*/ 835832 w 835832"/>
                <a:gd name="connsiteY10" fmla="*/ 165310 h 429061"/>
                <a:gd name="connsiteX11" fmla="*/ 744899 w 835832"/>
                <a:gd name="connsiteY11" fmla="*/ 44757 h 42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35832" h="429061">
                  <a:moveTo>
                    <a:pt x="744899" y="44757"/>
                  </a:moveTo>
                  <a:lnTo>
                    <a:pt x="588243" y="0"/>
                  </a:lnTo>
                  <a:cubicBezTo>
                    <a:pt x="564737" y="74955"/>
                    <a:pt x="495557" y="129705"/>
                    <a:pt x="412845" y="129705"/>
                  </a:cubicBezTo>
                  <a:cubicBezTo>
                    <a:pt x="331113" y="129705"/>
                    <a:pt x="262581" y="76245"/>
                    <a:pt x="238274" y="2659"/>
                  </a:cubicBezTo>
                  <a:lnTo>
                    <a:pt x="90928" y="44757"/>
                  </a:lnTo>
                  <a:cubicBezTo>
                    <a:pt x="37104" y="60137"/>
                    <a:pt x="0" y="109331"/>
                    <a:pt x="0" y="165310"/>
                  </a:cubicBezTo>
                  <a:lnTo>
                    <a:pt x="0" y="387272"/>
                  </a:lnTo>
                  <a:cubicBezTo>
                    <a:pt x="0" y="410350"/>
                    <a:pt x="18711" y="429062"/>
                    <a:pt x="41789" y="429062"/>
                  </a:cubicBezTo>
                  <a:lnTo>
                    <a:pt x="794043" y="429062"/>
                  </a:lnTo>
                  <a:cubicBezTo>
                    <a:pt x="817121" y="429062"/>
                    <a:pt x="835832" y="410350"/>
                    <a:pt x="835832" y="387272"/>
                  </a:cubicBezTo>
                  <a:lnTo>
                    <a:pt x="835832" y="165310"/>
                  </a:lnTo>
                  <a:cubicBezTo>
                    <a:pt x="835832" y="109331"/>
                    <a:pt x="798723" y="60137"/>
                    <a:pt x="744899" y="4475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7D7B237A-6C00-2963-A805-CE5B1BE484FE}"/>
                </a:ext>
              </a:extLst>
            </p:cNvPr>
            <p:cNvSpPr/>
            <p:nvPr/>
          </p:nvSpPr>
          <p:spPr>
            <a:xfrm>
              <a:off x="-1126365" y="5077789"/>
              <a:ext cx="208956" cy="459707"/>
            </a:xfrm>
            <a:custGeom>
              <a:avLst/>
              <a:gdLst>
                <a:gd name="connsiteX0" fmla="*/ 0 w 208956"/>
                <a:gd name="connsiteY0" fmla="*/ 125378 h 459707"/>
                <a:gd name="connsiteX1" fmla="*/ 0 w 208956"/>
                <a:gd name="connsiteY1" fmla="*/ 154705 h 459707"/>
                <a:gd name="connsiteX2" fmla="*/ 17158 w 208956"/>
                <a:gd name="connsiteY2" fmla="*/ 260430 h 459707"/>
                <a:gd name="connsiteX3" fmla="*/ 83584 w 208956"/>
                <a:gd name="connsiteY3" fmla="*/ 459708 h 459707"/>
                <a:gd name="connsiteX4" fmla="*/ 208957 w 208956"/>
                <a:gd name="connsiteY4" fmla="*/ 459708 h 459707"/>
                <a:gd name="connsiteX5" fmla="*/ 208957 w 208956"/>
                <a:gd name="connsiteY5" fmla="*/ 0 h 459707"/>
                <a:gd name="connsiteX6" fmla="*/ 125373 w 208956"/>
                <a:gd name="connsiteY6" fmla="*/ 0 h 459707"/>
                <a:gd name="connsiteX7" fmla="*/ 0 w 208956"/>
                <a:gd name="connsiteY7" fmla="*/ 125378 h 45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956" h="459707">
                  <a:moveTo>
                    <a:pt x="0" y="125378"/>
                  </a:moveTo>
                  <a:lnTo>
                    <a:pt x="0" y="154705"/>
                  </a:lnTo>
                  <a:cubicBezTo>
                    <a:pt x="0" y="190639"/>
                    <a:pt x="5796" y="226339"/>
                    <a:pt x="17158" y="260430"/>
                  </a:cubicBezTo>
                  <a:lnTo>
                    <a:pt x="83584" y="459708"/>
                  </a:lnTo>
                  <a:lnTo>
                    <a:pt x="208957" y="459708"/>
                  </a:lnTo>
                  <a:lnTo>
                    <a:pt x="208957" y="0"/>
                  </a:lnTo>
                  <a:lnTo>
                    <a:pt x="125373" y="0"/>
                  </a:lnTo>
                  <a:cubicBezTo>
                    <a:pt x="56134" y="5"/>
                    <a:pt x="0" y="56139"/>
                    <a:pt x="0" y="125378"/>
                  </a:cubicBezTo>
                  <a:close/>
                </a:path>
              </a:pathLst>
            </a:custGeom>
            <a:solidFill>
              <a:srgbClr val="5A4146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6557684E-4A03-ED71-4941-A2EE15D20E13}"/>
                </a:ext>
              </a:extLst>
            </p:cNvPr>
            <p:cNvSpPr/>
            <p:nvPr/>
          </p:nvSpPr>
          <p:spPr>
            <a:xfrm>
              <a:off x="-1042782" y="5036004"/>
              <a:ext cx="501497" cy="501497"/>
            </a:xfrm>
            <a:custGeom>
              <a:avLst/>
              <a:gdLst>
                <a:gd name="connsiteX0" fmla="*/ 488636 w 501497"/>
                <a:gd name="connsiteY0" fmla="*/ 253978 h 501497"/>
                <a:gd name="connsiteX1" fmla="*/ 417919 w 501497"/>
                <a:gd name="connsiteY1" fmla="*/ 501497 h 501497"/>
                <a:gd name="connsiteX2" fmla="*/ 83584 w 501497"/>
                <a:gd name="connsiteY2" fmla="*/ 208957 h 501497"/>
                <a:gd name="connsiteX3" fmla="*/ 0 w 501497"/>
                <a:gd name="connsiteY3" fmla="*/ 125373 h 501497"/>
                <a:gd name="connsiteX4" fmla="*/ 0 w 501497"/>
                <a:gd name="connsiteY4" fmla="*/ 125373 h 501497"/>
                <a:gd name="connsiteX5" fmla="*/ 125373 w 501497"/>
                <a:gd name="connsiteY5" fmla="*/ 0 h 501497"/>
                <a:gd name="connsiteX6" fmla="*/ 417914 w 501497"/>
                <a:gd name="connsiteY6" fmla="*/ 0 h 501497"/>
                <a:gd name="connsiteX7" fmla="*/ 501497 w 501497"/>
                <a:gd name="connsiteY7" fmla="*/ 83584 h 501497"/>
                <a:gd name="connsiteX8" fmla="*/ 501497 w 501497"/>
                <a:gd name="connsiteY8" fmla="*/ 162134 h 501497"/>
                <a:gd name="connsiteX9" fmla="*/ 488636 w 501497"/>
                <a:gd name="connsiteY9" fmla="*/ 253978 h 501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1497" h="501497">
                  <a:moveTo>
                    <a:pt x="488636" y="253978"/>
                  </a:moveTo>
                  <a:lnTo>
                    <a:pt x="417919" y="501497"/>
                  </a:lnTo>
                  <a:lnTo>
                    <a:pt x="83584" y="208957"/>
                  </a:lnTo>
                  <a:cubicBezTo>
                    <a:pt x="37423" y="208957"/>
                    <a:pt x="0" y="171534"/>
                    <a:pt x="0" y="125373"/>
                  </a:cubicBezTo>
                  <a:lnTo>
                    <a:pt x="0" y="125373"/>
                  </a:lnTo>
                  <a:cubicBezTo>
                    <a:pt x="0" y="56129"/>
                    <a:pt x="56134" y="0"/>
                    <a:pt x="125373" y="0"/>
                  </a:cubicBezTo>
                  <a:lnTo>
                    <a:pt x="417914" y="0"/>
                  </a:lnTo>
                  <a:cubicBezTo>
                    <a:pt x="464075" y="0"/>
                    <a:pt x="501497" y="37423"/>
                    <a:pt x="501497" y="83584"/>
                  </a:cubicBezTo>
                  <a:lnTo>
                    <a:pt x="501497" y="162134"/>
                  </a:lnTo>
                  <a:cubicBezTo>
                    <a:pt x="501502" y="193198"/>
                    <a:pt x="497170" y="224108"/>
                    <a:pt x="488636" y="253978"/>
                  </a:cubicBezTo>
                  <a:close/>
                </a:path>
              </a:pathLst>
            </a:custGeom>
            <a:solidFill>
              <a:srgbClr val="694B4B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04E9A5AC-64D7-E499-8BA6-0B2DE131A648}"/>
                </a:ext>
              </a:extLst>
            </p:cNvPr>
            <p:cNvSpPr/>
            <p:nvPr/>
          </p:nvSpPr>
          <p:spPr>
            <a:xfrm>
              <a:off x="-959203" y="5662875"/>
              <a:ext cx="250751" cy="101383"/>
            </a:xfrm>
            <a:custGeom>
              <a:avLst/>
              <a:gdLst>
                <a:gd name="connsiteX0" fmla="*/ 5 w 250751"/>
                <a:gd name="connsiteY0" fmla="*/ 76767 h 101383"/>
                <a:gd name="connsiteX1" fmla="*/ 125378 w 250751"/>
                <a:gd name="connsiteY1" fmla="*/ 101384 h 101383"/>
                <a:gd name="connsiteX2" fmla="*/ 250751 w 250751"/>
                <a:gd name="connsiteY2" fmla="*/ 76767 h 101383"/>
                <a:gd name="connsiteX3" fmla="*/ 250751 w 250751"/>
                <a:gd name="connsiteY3" fmla="*/ 0 h 101383"/>
                <a:gd name="connsiteX4" fmla="*/ 0 w 250751"/>
                <a:gd name="connsiteY4" fmla="*/ 0 h 101383"/>
                <a:gd name="connsiteX5" fmla="*/ 0 w 250751"/>
                <a:gd name="connsiteY5" fmla="*/ 76767 h 101383"/>
                <a:gd name="connsiteX6" fmla="*/ 5 w 250751"/>
                <a:gd name="connsiteY6" fmla="*/ 76767 h 1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0751" h="101383">
                  <a:moveTo>
                    <a:pt x="5" y="76767"/>
                  </a:moveTo>
                  <a:cubicBezTo>
                    <a:pt x="38767" y="92516"/>
                    <a:pt x="81035" y="101384"/>
                    <a:pt x="125378" y="101384"/>
                  </a:cubicBezTo>
                  <a:cubicBezTo>
                    <a:pt x="169722" y="101384"/>
                    <a:pt x="211994" y="92516"/>
                    <a:pt x="250751" y="76767"/>
                  </a:cubicBezTo>
                  <a:lnTo>
                    <a:pt x="250751" y="0"/>
                  </a:lnTo>
                  <a:lnTo>
                    <a:pt x="0" y="0"/>
                  </a:lnTo>
                  <a:lnTo>
                    <a:pt x="0" y="76767"/>
                  </a:lnTo>
                  <a:lnTo>
                    <a:pt x="5" y="76767"/>
                  </a:lnTo>
                  <a:close/>
                </a:path>
              </a:pathLst>
            </a:custGeom>
            <a:solidFill>
              <a:srgbClr val="D29B6E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29729418-E8BE-2D11-38CD-2F9FC92C0DEA}"/>
                </a:ext>
              </a:extLst>
            </p:cNvPr>
            <p:cNvSpPr/>
            <p:nvPr/>
          </p:nvSpPr>
          <p:spPr>
            <a:xfrm>
              <a:off x="-1084571" y="5245471"/>
              <a:ext cx="501502" cy="459198"/>
            </a:xfrm>
            <a:custGeom>
              <a:avLst/>
              <a:gdLst>
                <a:gd name="connsiteX0" fmla="*/ 250751 w 501502"/>
                <a:gd name="connsiteY0" fmla="*/ 459199 h 459198"/>
                <a:gd name="connsiteX1" fmla="*/ 250751 w 501502"/>
                <a:gd name="connsiteY1" fmla="*/ 459199 h 459198"/>
                <a:gd name="connsiteX2" fmla="*/ 0 w 501502"/>
                <a:gd name="connsiteY2" fmla="*/ 208447 h 459198"/>
                <a:gd name="connsiteX3" fmla="*/ 0 w 501502"/>
                <a:gd name="connsiteY3" fmla="*/ 159483 h 459198"/>
                <a:gd name="connsiteX4" fmla="*/ 24482 w 501502"/>
                <a:gd name="connsiteY4" fmla="*/ 100382 h 459198"/>
                <a:gd name="connsiteX5" fmla="*/ 100264 w 501502"/>
                <a:gd name="connsiteY5" fmla="*/ 24600 h 459198"/>
                <a:gd name="connsiteX6" fmla="*/ 160939 w 501502"/>
                <a:gd name="connsiteY6" fmla="*/ 38 h 459198"/>
                <a:gd name="connsiteX7" fmla="*/ 477419 w 501502"/>
                <a:gd name="connsiteY7" fmla="*/ 96005 h 459198"/>
                <a:gd name="connsiteX8" fmla="*/ 501502 w 501502"/>
                <a:gd name="connsiteY8" fmla="*/ 155196 h 459198"/>
                <a:gd name="connsiteX9" fmla="*/ 501502 w 501502"/>
                <a:gd name="connsiteY9" fmla="*/ 208447 h 459198"/>
                <a:gd name="connsiteX10" fmla="*/ 250751 w 501502"/>
                <a:gd name="connsiteY10" fmla="*/ 459199 h 459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1502" h="459198">
                  <a:moveTo>
                    <a:pt x="250751" y="459199"/>
                  </a:moveTo>
                  <a:lnTo>
                    <a:pt x="250751" y="459199"/>
                  </a:lnTo>
                  <a:cubicBezTo>
                    <a:pt x="112263" y="459199"/>
                    <a:pt x="0" y="346935"/>
                    <a:pt x="0" y="208447"/>
                  </a:cubicBezTo>
                  <a:lnTo>
                    <a:pt x="0" y="159483"/>
                  </a:lnTo>
                  <a:cubicBezTo>
                    <a:pt x="0" y="137316"/>
                    <a:pt x="8808" y="116056"/>
                    <a:pt x="24482" y="100382"/>
                  </a:cubicBezTo>
                  <a:lnTo>
                    <a:pt x="100264" y="24600"/>
                  </a:lnTo>
                  <a:cubicBezTo>
                    <a:pt x="116311" y="8553"/>
                    <a:pt x="138254" y="-674"/>
                    <a:pt x="160939" y="38"/>
                  </a:cubicBezTo>
                  <a:cubicBezTo>
                    <a:pt x="294532" y="4251"/>
                    <a:pt x="412780" y="32870"/>
                    <a:pt x="477419" y="96005"/>
                  </a:cubicBezTo>
                  <a:cubicBezTo>
                    <a:pt x="493242" y="111460"/>
                    <a:pt x="501502" y="133079"/>
                    <a:pt x="501502" y="155196"/>
                  </a:cubicBezTo>
                  <a:lnTo>
                    <a:pt x="501502" y="208447"/>
                  </a:lnTo>
                  <a:cubicBezTo>
                    <a:pt x="501497" y="346930"/>
                    <a:pt x="389234" y="459199"/>
                    <a:pt x="250751" y="459199"/>
                  </a:cubicBezTo>
                  <a:close/>
                </a:path>
              </a:pathLst>
            </a:custGeom>
            <a:solidFill>
              <a:srgbClr val="F0C087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80E5F486-BD3C-D508-D8E6-401810177849}"/>
                </a:ext>
              </a:extLst>
            </p:cNvPr>
            <p:cNvSpPr/>
            <p:nvPr/>
          </p:nvSpPr>
          <p:spPr>
            <a:xfrm>
              <a:off x="-1084566" y="5245471"/>
              <a:ext cx="500332" cy="449225"/>
            </a:xfrm>
            <a:custGeom>
              <a:avLst/>
              <a:gdLst>
                <a:gd name="connsiteX0" fmla="*/ 125368 w 500332"/>
                <a:gd name="connsiteY0" fmla="*/ 169855 h 449225"/>
                <a:gd name="connsiteX1" fmla="*/ 213966 w 500332"/>
                <a:gd name="connsiteY1" fmla="*/ 86395 h 449225"/>
                <a:gd name="connsiteX2" fmla="*/ 500332 w 500332"/>
                <a:gd name="connsiteY2" fmla="*/ 142823 h 449225"/>
                <a:gd name="connsiteX3" fmla="*/ 477414 w 500332"/>
                <a:gd name="connsiteY3" fmla="*/ 96005 h 449225"/>
                <a:gd name="connsiteX4" fmla="*/ 160934 w 500332"/>
                <a:gd name="connsiteY4" fmla="*/ 38 h 449225"/>
                <a:gd name="connsiteX5" fmla="*/ 160929 w 500332"/>
                <a:gd name="connsiteY5" fmla="*/ 43 h 449225"/>
                <a:gd name="connsiteX6" fmla="*/ 160929 w 500332"/>
                <a:gd name="connsiteY6" fmla="*/ 38 h 449225"/>
                <a:gd name="connsiteX7" fmla="*/ 100264 w 500332"/>
                <a:gd name="connsiteY7" fmla="*/ 24600 h 449225"/>
                <a:gd name="connsiteX8" fmla="*/ 24482 w 500332"/>
                <a:gd name="connsiteY8" fmla="*/ 100382 h 449225"/>
                <a:gd name="connsiteX9" fmla="*/ 0 w 500332"/>
                <a:gd name="connsiteY9" fmla="*/ 159483 h 449225"/>
                <a:gd name="connsiteX10" fmla="*/ 0 w 500332"/>
                <a:gd name="connsiteY10" fmla="*/ 208442 h 449225"/>
                <a:gd name="connsiteX11" fmla="*/ 181273 w 500332"/>
                <a:gd name="connsiteY11" fmla="*/ 449226 h 449225"/>
                <a:gd name="connsiteX12" fmla="*/ 125378 w 500332"/>
                <a:gd name="connsiteY12" fmla="*/ 292026 h 449225"/>
                <a:gd name="connsiteX13" fmla="*/ 125378 w 500332"/>
                <a:gd name="connsiteY13" fmla="*/ 169855 h 449225"/>
                <a:gd name="connsiteX14" fmla="*/ 125368 w 500332"/>
                <a:gd name="connsiteY14" fmla="*/ 169855 h 44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0332" h="449225">
                  <a:moveTo>
                    <a:pt x="125368" y="169855"/>
                  </a:moveTo>
                  <a:cubicBezTo>
                    <a:pt x="125368" y="121647"/>
                    <a:pt x="165853" y="83323"/>
                    <a:pt x="213966" y="86395"/>
                  </a:cubicBezTo>
                  <a:cubicBezTo>
                    <a:pt x="298336" y="91778"/>
                    <a:pt x="423525" y="105879"/>
                    <a:pt x="500332" y="142823"/>
                  </a:cubicBezTo>
                  <a:cubicBezTo>
                    <a:pt x="497823" y="125192"/>
                    <a:pt x="490250" y="108547"/>
                    <a:pt x="477414" y="96005"/>
                  </a:cubicBezTo>
                  <a:cubicBezTo>
                    <a:pt x="412775" y="32875"/>
                    <a:pt x="294527" y="4256"/>
                    <a:pt x="160934" y="38"/>
                  </a:cubicBezTo>
                  <a:lnTo>
                    <a:pt x="160929" y="43"/>
                  </a:lnTo>
                  <a:lnTo>
                    <a:pt x="160929" y="38"/>
                  </a:lnTo>
                  <a:cubicBezTo>
                    <a:pt x="138249" y="-674"/>
                    <a:pt x="116306" y="8558"/>
                    <a:pt x="100264" y="24600"/>
                  </a:cubicBezTo>
                  <a:lnTo>
                    <a:pt x="24482" y="100382"/>
                  </a:lnTo>
                  <a:cubicBezTo>
                    <a:pt x="8803" y="116056"/>
                    <a:pt x="0" y="137316"/>
                    <a:pt x="0" y="159483"/>
                  </a:cubicBezTo>
                  <a:lnTo>
                    <a:pt x="0" y="208442"/>
                  </a:lnTo>
                  <a:cubicBezTo>
                    <a:pt x="0" y="322797"/>
                    <a:pt x="76623" y="419077"/>
                    <a:pt x="181273" y="449226"/>
                  </a:cubicBezTo>
                  <a:cubicBezTo>
                    <a:pt x="146439" y="406246"/>
                    <a:pt x="125378" y="351695"/>
                    <a:pt x="125378" y="292026"/>
                  </a:cubicBezTo>
                  <a:lnTo>
                    <a:pt x="125378" y="169855"/>
                  </a:lnTo>
                  <a:lnTo>
                    <a:pt x="125368" y="169855"/>
                  </a:lnTo>
                  <a:close/>
                </a:path>
              </a:pathLst>
            </a:custGeom>
            <a:solidFill>
              <a:srgbClr val="E6AF78"/>
            </a:solidFill>
            <a:ln w="4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56" name="Graphique 38">
              <a:extLst>
                <a:ext uri="{FF2B5EF4-FFF2-40B4-BE49-F238E27FC236}">
                  <a16:creationId xmlns:a16="http://schemas.microsoft.com/office/drawing/2014/main" id="{ADE79867-A4AC-601F-9D4F-87DDFA8F6B4F}"/>
                </a:ext>
              </a:extLst>
            </p:cNvPr>
            <p:cNvGrpSpPr/>
            <p:nvPr/>
          </p:nvGrpSpPr>
          <p:grpSpPr>
            <a:xfrm>
              <a:off x="-1251738" y="5870711"/>
              <a:ext cx="835831" cy="335455"/>
              <a:chOff x="-1251738" y="5870711"/>
              <a:chExt cx="835831" cy="335455"/>
            </a:xfrm>
            <a:solidFill>
              <a:srgbClr val="C7CFE2"/>
            </a:solidFill>
          </p:grpSpPr>
          <p:sp>
            <p:nvSpPr>
              <p:cNvPr id="257" name="Forme libre : forme 256">
                <a:extLst>
                  <a:ext uri="{FF2B5EF4-FFF2-40B4-BE49-F238E27FC236}">
                    <a16:creationId xmlns:a16="http://schemas.microsoft.com/office/drawing/2014/main" id="{E2945EF7-7D7B-CAD5-48BC-CEEE67C8C9B0}"/>
                  </a:ext>
                </a:extLst>
              </p:cNvPr>
              <p:cNvSpPr/>
              <p:nvPr/>
            </p:nvSpPr>
            <p:spPr>
              <a:xfrm>
                <a:off x="-1251738" y="5870711"/>
                <a:ext cx="167167" cy="335455"/>
              </a:xfrm>
              <a:custGeom>
                <a:avLst/>
                <a:gdLst>
                  <a:gd name="connsiteX0" fmla="*/ 167167 w 167167"/>
                  <a:gd name="connsiteY0" fmla="*/ 196230 h 335455"/>
                  <a:gd name="connsiteX1" fmla="*/ 130447 w 167167"/>
                  <a:gd name="connsiteY1" fmla="*/ 107578 h 335455"/>
                  <a:gd name="connsiteX2" fmla="*/ 22869 w 167167"/>
                  <a:gd name="connsiteY2" fmla="*/ 0 h 335455"/>
                  <a:gd name="connsiteX3" fmla="*/ 0 w 167167"/>
                  <a:gd name="connsiteY3" fmla="*/ 71704 h 335455"/>
                  <a:gd name="connsiteX4" fmla="*/ 0 w 167167"/>
                  <a:gd name="connsiteY4" fmla="*/ 293666 h 335455"/>
                  <a:gd name="connsiteX5" fmla="*/ 41789 w 167167"/>
                  <a:gd name="connsiteY5" fmla="*/ 335455 h 335455"/>
                  <a:gd name="connsiteX6" fmla="*/ 167162 w 167167"/>
                  <a:gd name="connsiteY6" fmla="*/ 335455 h 335455"/>
                  <a:gd name="connsiteX7" fmla="*/ 167167 w 167167"/>
                  <a:gd name="connsiteY7" fmla="*/ 196230 h 335455"/>
                  <a:gd name="connsiteX8" fmla="*/ 167167 w 167167"/>
                  <a:gd name="connsiteY8" fmla="*/ 196230 h 335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167" h="335455">
                    <a:moveTo>
                      <a:pt x="167167" y="196230"/>
                    </a:moveTo>
                    <a:cubicBezTo>
                      <a:pt x="167167" y="162980"/>
                      <a:pt x="153958" y="131089"/>
                      <a:pt x="130447" y="107578"/>
                    </a:cubicBezTo>
                    <a:lnTo>
                      <a:pt x="22869" y="0"/>
                    </a:lnTo>
                    <a:cubicBezTo>
                      <a:pt x="8489" y="20554"/>
                      <a:pt x="0" y="45295"/>
                      <a:pt x="0" y="71704"/>
                    </a:cubicBezTo>
                    <a:lnTo>
                      <a:pt x="0" y="293666"/>
                    </a:lnTo>
                    <a:cubicBezTo>
                      <a:pt x="0" y="316749"/>
                      <a:pt x="18711" y="335455"/>
                      <a:pt x="41789" y="335455"/>
                    </a:cubicBezTo>
                    <a:lnTo>
                      <a:pt x="167162" y="335455"/>
                    </a:lnTo>
                    <a:lnTo>
                      <a:pt x="167167" y="196230"/>
                    </a:lnTo>
                    <a:lnTo>
                      <a:pt x="167167" y="196230"/>
                    </a:lnTo>
                    <a:close/>
                  </a:path>
                </a:pathLst>
              </a:custGeom>
              <a:solidFill>
                <a:srgbClr val="DAC6E0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8" name="Forme libre : forme 257">
                <a:extLst>
                  <a:ext uri="{FF2B5EF4-FFF2-40B4-BE49-F238E27FC236}">
                    <a16:creationId xmlns:a16="http://schemas.microsoft.com/office/drawing/2014/main" id="{A1E7A112-E199-5856-2F83-A7C3536B3F07}"/>
                  </a:ext>
                </a:extLst>
              </p:cNvPr>
              <p:cNvSpPr/>
              <p:nvPr/>
            </p:nvSpPr>
            <p:spPr>
              <a:xfrm>
                <a:off x="-583074" y="5870711"/>
                <a:ext cx="167167" cy="335455"/>
              </a:xfrm>
              <a:custGeom>
                <a:avLst/>
                <a:gdLst>
                  <a:gd name="connsiteX0" fmla="*/ 0 w 167167"/>
                  <a:gd name="connsiteY0" fmla="*/ 196230 h 335455"/>
                  <a:gd name="connsiteX1" fmla="*/ 36721 w 167167"/>
                  <a:gd name="connsiteY1" fmla="*/ 107578 h 335455"/>
                  <a:gd name="connsiteX2" fmla="*/ 144298 w 167167"/>
                  <a:gd name="connsiteY2" fmla="*/ 0 h 335455"/>
                  <a:gd name="connsiteX3" fmla="*/ 167167 w 167167"/>
                  <a:gd name="connsiteY3" fmla="*/ 71704 h 335455"/>
                  <a:gd name="connsiteX4" fmla="*/ 167167 w 167167"/>
                  <a:gd name="connsiteY4" fmla="*/ 293666 h 335455"/>
                  <a:gd name="connsiteX5" fmla="*/ 125378 w 167167"/>
                  <a:gd name="connsiteY5" fmla="*/ 335455 h 335455"/>
                  <a:gd name="connsiteX6" fmla="*/ 5 w 167167"/>
                  <a:gd name="connsiteY6" fmla="*/ 335455 h 335455"/>
                  <a:gd name="connsiteX7" fmla="*/ 0 w 167167"/>
                  <a:gd name="connsiteY7" fmla="*/ 196230 h 335455"/>
                  <a:gd name="connsiteX8" fmla="*/ 0 w 167167"/>
                  <a:gd name="connsiteY8" fmla="*/ 196230 h 335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167" h="335455">
                    <a:moveTo>
                      <a:pt x="0" y="196230"/>
                    </a:moveTo>
                    <a:cubicBezTo>
                      <a:pt x="0" y="162980"/>
                      <a:pt x="13209" y="131089"/>
                      <a:pt x="36721" y="107578"/>
                    </a:cubicBezTo>
                    <a:lnTo>
                      <a:pt x="144298" y="0"/>
                    </a:lnTo>
                    <a:cubicBezTo>
                      <a:pt x="158678" y="20554"/>
                      <a:pt x="167167" y="45295"/>
                      <a:pt x="167167" y="71704"/>
                    </a:cubicBezTo>
                    <a:lnTo>
                      <a:pt x="167167" y="293666"/>
                    </a:lnTo>
                    <a:cubicBezTo>
                      <a:pt x="167167" y="316749"/>
                      <a:pt x="148456" y="335455"/>
                      <a:pt x="125378" y="335455"/>
                    </a:cubicBezTo>
                    <a:lnTo>
                      <a:pt x="5" y="335455"/>
                    </a:lnTo>
                    <a:lnTo>
                      <a:pt x="0" y="196230"/>
                    </a:lnTo>
                    <a:lnTo>
                      <a:pt x="0" y="196230"/>
                    </a:lnTo>
                    <a:close/>
                  </a:path>
                </a:pathLst>
              </a:custGeom>
              <a:solidFill>
                <a:srgbClr val="DAC6E0"/>
              </a:solidFill>
              <a:ln w="49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263" name="Graphique 897">
            <a:extLst>
              <a:ext uri="{FF2B5EF4-FFF2-40B4-BE49-F238E27FC236}">
                <a16:creationId xmlns:a16="http://schemas.microsoft.com/office/drawing/2014/main" id="{EFE40EF1-D817-4340-B59D-E0D137E30E97}"/>
              </a:ext>
            </a:extLst>
          </p:cNvPr>
          <p:cNvGrpSpPr/>
          <p:nvPr/>
        </p:nvGrpSpPr>
        <p:grpSpPr>
          <a:xfrm>
            <a:off x="3847574" y="2654635"/>
            <a:ext cx="475525" cy="504751"/>
            <a:chOff x="3239293" y="2073069"/>
            <a:chExt cx="612256" cy="612256"/>
          </a:xfrm>
        </p:grpSpPr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DEAB699D-A549-4174-DD41-3CD9BE84C674}"/>
                </a:ext>
              </a:extLst>
            </p:cNvPr>
            <p:cNvSpPr/>
            <p:nvPr/>
          </p:nvSpPr>
          <p:spPr>
            <a:xfrm>
              <a:off x="3496047" y="2181696"/>
              <a:ext cx="98747" cy="98748"/>
            </a:xfrm>
            <a:custGeom>
              <a:avLst/>
              <a:gdLst>
                <a:gd name="connsiteX0" fmla="*/ 98748 w 98747"/>
                <a:gd name="connsiteY0" fmla="*/ 49374 h 98748"/>
                <a:gd name="connsiteX1" fmla="*/ 49374 w 98747"/>
                <a:gd name="connsiteY1" fmla="*/ 98748 h 98748"/>
                <a:gd name="connsiteX2" fmla="*/ 0 w 98747"/>
                <a:gd name="connsiteY2" fmla="*/ 49374 h 98748"/>
                <a:gd name="connsiteX3" fmla="*/ 49374 w 98747"/>
                <a:gd name="connsiteY3" fmla="*/ 0 h 98748"/>
                <a:gd name="connsiteX4" fmla="*/ 98748 w 98747"/>
                <a:gd name="connsiteY4" fmla="*/ 49374 h 9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47" h="98748">
                  <a:moveTo>
                    <a:pt x="98748" y="49374"/>
                  </a:moveTo>
                  <a:cubicBezTo>
                    <a:pt x="98748" y="76645"/>
                    <a:pt x="76645" y="98748"/>
                    <a:pt x="49374" y="98748"/>
                  </a:cubicBezTo>
                  <a:cubicBezTo>
                    <a:pt x="22103" y="98748"/>
                    <a:pt x="0" y="76645"/>
                    <a:pt x="0" y="49374"/>
                  </a:cubicBezTo>
                  <a:cubicBezTo>
                    <a:pt x="0" y="22104"/>
                    <a:pt x="22103" y="0"/>
                    <a:pt x="49374" y="0"/>
                  </a:cubicBezTo>
                  <a:cubicBezTo>
                    <a:pt x="76645" y="0"/>
                    <a:pt x="98748" y="22104"/>
                    <a:pt x="98748" y="49374"/>
                  </a:cubicBezTo>
                  <a:close/>
                </a:path>
              </a:pathLst>
            </a:custGeom>
            <a:solidFill>
              <a:srgbClr val="6E4848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F699C1EC-0C46-7965-B157-552F3B417E41}"/>
                </a:ext>
              </a:extLst>
            </p:cNvPr>
            <p:cNvSpPr/>
            <p:nvPr/>
          </p:nvSpPr>
          <p:spPr>
            <a:xfrm>
              <a:off x="3446668" y="2221195"/>
              <a:ext cx="197505" cy="197500"/>
            </a:xfrm>
            <a:custGeom>
              <a:avLst/>
              <a:gdLst>
                <a:gd name="connsiteX0" fmla="*/ 197506 w 197505"/>
                <a:gd name="connsiteY0" fmla="*/ 98753 h 197500"/>
                <a:gd name="connsiteX1" fmla="*/ 98753 w 197505"/>
                <a:gd name="connsiteY1" fmla="*/ 197501 h 197500"/>
                <a:gd name="connsiteX2" fmla="*/ 0 w 197505"/>
                <a:gd name="connsiteY2" fmla="*/ 98753 h 197500"/>
                <a:gd name="connsiteX3" fmla="*/ 98753 w 197505"/>
                <a:gd name="connsiteY3" fmla="*/ 0 h 197500"/>
                <a:gd name="connsiteX4" fmla="*/ 197506 w 197505"/>
                <a:gd name="connsiteY4" fmla="*/ 98753 h 1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505" h="197500">
                  <a:moveTo>
                    <a:pt x="197506" y="98753"/>
                  </a:moveTo>
                  <a:cubicBezTo>
                    <a:pt x="197506" y="153289"/>
                    <a:pt x="153293" y="197501"/>
                    <a:pt x="98753" y="197501"/>
                  </a:cubicBezTo>
                  <a:cubicBezTo>
                    <a:pt x="44213" y="197501"/>
                    <a:pt x="0" y="153289"/>
                    <a:pt x="0" y="98753"/>
                  </a:cubicBezTo>
                  <a:cubicBezTo>
                    <a:pt x="0" y="44213"/>
                    <a:pt x="44213" y="0"/>
                    <a:pt x="98753" y="0"/>
                  </a:cubicBezTo>
                  <a:cubicBezTo>
                    <a:pt x="153293" y="0"/>
                    <a:pt x="197506" y="44213"/>
                    <a:pt x="197506" y="98753"/>
                  </a:cubicBezTo>
                  <a:close/>
                </a:path>
              </a:pathLst>
            </a:custGeom>
            <a:solidFill>
              <a:srgbClr val="6E4848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88701227-92B8-F240-6D61-79EED47EE550}"/>
                </a:ext>
              </a:extLst>
            </p:cNvPr>
            <p:cNvSpPr/>
            <p:nvPr/>
          </p:nvSpPr>
          <p:spPr>
            <a:xfrm>
              <a:off x="3417044" y="2418696"/>
              <a:ext cx="256753" cy="138252"/>
            </a:xfrm>
            <a:custGeom>
              <a:avLst/>
              <a:gdLst>
                <a:gd name="connsiteX0" fmla="*/ 239541 w 256753"/>
                <a:gd name="connsiteY0" fmla="*/ 80933 h 138252"/>
                <a:gd name="connsiteX1" fmla="*/ 179353 w 256753"/>
                <a:gd name="connsiteY1" fmla="*/ 53153 h 138252"/>
                <a:gd name="connsiteX2" fmla="*/ 167876 w 256753"/>
                <a:gd name="connsiteY2" fmla="*/ 35220 h 138252"/>
                <a:gd name="connsiteX3" fmla="*/ 167876 w 256753"/>
                <a:gd name="connsiteY3" fmla="*/ 0 h 138252"/>
                <a:gd name="connsiteX4" fmla="*/ 88878 w 256753"/>
                <a:gd name="connsiteY4" fmla="*/ 0 h 138252"/>
                <a:gd name="connsiteX5" fmla="*/ 88878 w 256753"/>
                <a:gd name="connsiteY5" fmla="*/ 35220 h 138252"/>
                <a:gd name="connsiteX6" fmla="*/ 77400 w 256753"/>
                <a:gd name="connsiteY6" fmla="*/ 53153 h 138252"/>
                <a:gd name="connsiteX7" fmla="*/ 17208 w 256753"/>
                <a:gd name="connsiteY7" fmla="*/ 80933 h 138252"/>
                <a:gd name="connsiteX8" fmla="*/ 0 w 256753"/>
                <a:gd name="connsiteY8" fmla="*/ 107834 h 138252"/>
                <a:gd name="connsiteX9" fmla="*/ 0 w 256753"/>
                <a:gd name="connsiteY9" fmla="*/ 118503 h 138252"/>
                <a:gd name="connsiteX10" fmla="*/ 19749 w 256753"/>
                <a:gd name="connsiteY10" fmla="*/ 138253 h 138252"/>
                <a:gd name="connsiteX11" fmla="*/ 237004 w 256753"/>
                <a:gd name="connsiteY11" fmla="*/ 138253 h 138252"/>
                <a:gd name="connsiteX12" fmla="*/ 256753 w 256753"/>
                <a:gd name="connsiteY12" fmla="*/ 118503 h 138252"/>
                <a:gd name="connsiteX13" fmla="*/ 256753 w 256753"/>
                <a:gd name="connsiteY13" fmla="*/ 107834 h 138252"/>
                <a:gd name="connsiteX14" fmla="*/ 239541 w 256753"/>
                <a:gd name="connsiteY14" fmla="*/ 80933 h 13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6753" h="138252">
                  <a:moveTo>
                    <a:pt x="239541" y="80933"/>
                  </a:moveTo>
                  <a:lnTo>
                    <a:pt x="179353" y="53153"/>
                  </a:lnTo>
                  <a:cubicBezTo>
                    <a:pt x="172355" y="49925"/>
                    <a:pt x="167876" y="42924"/>
                    <a:pt x="167876" y="35220"/>
                  </a:cubicBezTo>
                  <a:lnTo>
                    <a:pt x="167876" y="0"/>
                  </a:lnTo>
                  <a:lnTo>
                    <a:pt x="88878" y="0"/>
                  </a:lnTo>
                  <a:lnTo>
                    <a:pt x="88878" y="35220"/>
                  </a:lnTo>
                  <a:cubicBezTo>
                    <a:pt x="88878" y="42924"/>
                    <a:pt x="84398" y="49925"/>
                    <a:pt x="77400" y="53153"/>
                  </a:cubicBezTo>
                  <a:lnTo>
                    <a:pt x="17208" y="80933"/>
                  </a:lnTo>
                  <a:cubicBezTo>
                    <a:pt x="6717" y="85777"/>
                    <a:pt x="0" y="96277"/>
                    <a:pt x="0" y="107834"/>
                  </a:cubicBezTo>
                  <a:lnTo>
                    <a:pt x="0" y="118503"/>
                  </a:lnTo>
                  <a:cubicBezTo>
                    <a:pt x="0" y="129410"/>
                    <a:pt x="8842" y="138253"/>
                    <a:pt x="19749" y="138253"/>
                  </a:cubicBezTo>
                  <a:lnTo>
                    <a:pt x="237004" y="138253"/>
                  </a:lnTo>
                  <a:cubicBezTo>
                    <a:pt x="247911" y="138253"/>
                    <a:pt x="256753" y="129410"/>
                    <a:pt x="256753" y="118503"/>
                  </a:cubicBezTo>
                  <a:lnTo>
                    <a:pt x="256753" y="107834"/>
                  </a:lnTo>
                  <a:cubicBezTo>
                    <a:pt x="256753" y="96277"/>
                    <a:pt x="250032" y="85777"/>
                    <a:pt x="239541" y="80933"/>
                  </a:cubicBezTo>
                  <a:close/>
                </a:path>
              </a:pathLst>
            </a:custGeom>
            <a:solidFill>
              <a:srgbClr val="ECBD83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2DA16222-F516-54DD-CA39-43C009E805FC}"/>
                </a:ext>
              </a:extLst>
            </p:cNvPr>
            <p:cNvSpPr/>
            <p:nvPr/>
          </p:nvSpPr>
          <p:spPr>
            <a:xfrm>
              <a:off x="3505922" y="2418696"/>
              <a:ext cx="78997" cy="39503"/>
            </a:xfrm>
            <a:custGeom>
              <a:avLst/>
              <a:gdLst>
                <a:gd name="connsiteX0" fmla="*/ 0 w 78997"/>
                <a:gd name="connsiteY0" fmla="*/ 30993 h 39503"/>
                <a:gd name="connsiteX1" fmla="*/ 32964 w 78997"/>
                <a:gd name="connsiteY1" fmla="*/ 39290 h 39503"/>
                <a:gd name="connsiteX2" fmla="*/ 39499 w 78997"/>
                <a:gd name="connsiteY2" fmla="*/ 39504 h 39503"/>
                <a:gd name="connsiteX3" fmla="*/ 78998 w 78997"/>
                <a:gd name="connsiteY3" fmla="*/ 31199 h 39503"/>
                <a:gd name="connsiteX4" fmla="*/ 78998 w 78997"/>
                <a:gd name="connsiteY4" fmla="*/ 0 h 39503"/>
                <a:gd name="connsiteX5" fmla="*/ 0 w 78997"/>
                <a:gd name="connsiteY5" fmla="*/ 0 h 3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997" h="39503">
                  <a:moveTo>
                    <a:pt x="0" y="30993"/>
                  </a:moveTo>
                  <a:cubicBezTo>
                    <a:pt x="10206" y="35580"/>
                    <a:pt x="21272" y="38533"/>
                    <a:pt x="32964" y="39290"/>
                  </a:cubicBezTo>
                  <a:cubicBezTo>
                    <a:pt x="35155" y="39434"/>
                    <a:pt x="37341" y="39504"/>
                    <a:pt x="39499" y="39504"/>
                  </a:cubicBezTo>
                  <a:cubicBezTo>
                    <a:pt x="53545" y="39504"/>
                    <a:pt x="66890" y="36511"/>
                    <a:pt x="78998" y="31199"/>
                  </a:cubicBezTo>
                  <a:lnTo>
                    <a:pt x="7899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A97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8" name="Forme libre : forme 267">
              <a:extLst>
                <a:ext uri="{FF2B5EF4-FFF2-40B4-BE49-F238E27FC236}">
                  <a16:creationId xmlns:a16="http://schemas.microsoft.com/office/drawing/2014/main" id="{23DF633E-48F9-4090-5ECE-652CEF93B189}"/>
                </a:ext>
              </a:extLst>
            </p:cNvPr>
            <p:cNvSpPr/>
            <p:nvPr/>
          </p:nvSpPr>
          <p:spPr>
            <a:xfrm>
              <a:off x="3466418" y="2284238"/>
              <a:ext cx="158001" cy="154209"/>
            </a:xfrm>
            <a:custGeom>
              <a:avLst/>
              <a:gdLst>
                <a:gd name="connsiteX0" fmla="*/ 142680 w 158001"/>
                <a:gd name="connsiteY0" fmla="*/ 42544 h 154209"/>
                <a:gd name="connsiteX1" fmla="*/ 56203 w 158001"/>
                <a:gd name="connsiteY1" fmla="*/ 2508 h 154209"/>
                <a:gd name="connsiteX2" fmla="*/ 42810 w 158001"/>
                <a:gd name="connsiteY2" fmla="*/ 2773 h 154209"/>
                <a:gd name="connsiteX3" fmla="*/ 5787 w 158001"/>
                <a:gd name="connsiteY3" fmla="*/ 39797 h 154209"/>
                <a:gd name="connsiteX4" fmla="*/ 0 w 158001"/>
                <a:gd name="connsiteY4" fmla="*/ 53764 h 154209"/>
                <a:gd name="connsiteX5" fmla="*/ 0 w 158001"/>
                <a:gd name="connsiteY5" fmla="*/ 72505 h 154209"/>
                <a:gd name="connsiteX6" fmla="*/ 73743 w 158001"/>
                <a:gd name="connsiteY6" fmla="*/ 154039 h 154209"/>
                <a:gd name="connsiteX7" fmla="*/ 158002 w 158001"/>
                <a:gd name="connsiteY7" fmla="*/ 75209 h 154209"/>
                <a:gd name="connsiteX8" fmla="*/ 158002 w 158001"/>
                <a:gd name="connsiteY8" fmla="*/ 61784 h 154209"/>
                <a:gd name="connsiteX9" fmla="*/ 142680 w 158001"/>
                <a:gd name="connsiteY9" fmla="*/ 42544 h 1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001" h="154209">
                  <a:moveTo>
                    <a:pt x="142680" y="42544"/>
                  </a:moveTo>
                  <a:cubicBezTo>
                    <a:pt x="121809" y="37667"/>
                    <a:pt x="83879" y="26143"/>
                    <a:pt x="56203" y="2508"/>
                  </a:cubicBezTo>
                  <a:cubicBezTo>
                    <a:pt x="52256" y="-865"/>
                    <a:pt x="46482" y="-893"/>
                    <a:pt x="42810" y="2773"/>
                  </a:cubicBezTo>
                  <a:lnTo>
                    <a:pt x="5787" y="39797"/>
                  </a:lnTo>
                  <a:cubicBezTo>
                    <a:pt x="2083" y="43502"/>
                    <a:pt x="0" y="48528"/>
                    <a:pt x="0" y="53764"/>
                  </a:cubicBezTo>
                  <a:lnTo>
                    <a:pt x="0" y="72505"/>
                  </a:lnTo>
                  <a:cubicBezTo>
                    <a:pt x="0" y="114577"/>
                    <a:pt x="31754" y="151321"/>
                    <a:pt x="73743" y="154039"/>
                  </a:cubicBezTo>
                  <a:cubicBezTo>
                    <a:pt x="119754" y="157019"/>
                    <a:pt x="158002" y="120580"/>
                    <a:pt x="158002" y="75209"/>
                  </a:cubicBezTo>
                  <a:lnTo>
                    <a:pt x="158002" y="61784"/>
                  </a:lnTo>
                  <a:cubicBezTo>
                    <a:pt x="158005" y="52564"/>
                    <a:pt x="151658" y="44641"/>
                    <a:pt x="142680" y="42544"/>
                  </a:cubicBezTo>
                  <a:close/>
                </a:path>
              </a:pathLst>
            </a:custGeom>
            <a:solidFill>
              <a:srgbClr val="F6D190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69" name="Forme libre : forme 268">
              <a:extLst>
                <a:ext uri="{FF2B5EF4-FFF2-40B4-BE49-F238E27FC236}">
                  <a16:creationId xmlns:a16="http://schemas.microsoft.com/office/drawing/2014/main" id="{E0876F25-82C4-49AC-2BC5-98CE4879F29E}"/>
                </a:ext>
              </a:extLst>
            </p:cNvPr>
            <p:cNvSpPr/>
            <p:nvPr/>
          </p:nvSpPr>
          <p:spPr>
            <a:xfrm>
              <a:off x="3466418" y="2284173"/>
              <a:ext cx="158001" cy="154313"/>
            </a:xfrm>
            <a:custGeom>
              <a:avLst/>
              <a:gdLst>
                <a:gd name="connsiteX0" fmla="*/ 56880 w 158001"/>
                <a:gd name="connsiteY0" fmla="*/ 27703 h 154313"/>
                <a:gd name="connsiteX1" fmla="*/ 158002 w 158001"/>
                <a:gd name="connsiteY1" fmla="*/ 63923 h 154313"/>
                <a:gd name="connsiteX2" fmla="*/ 158002 w 158001"/>
                <a:gd name="connsiteY2" fmla="*/ 61850 h 154313"/>
                <a:gd name="connsiteX3" fmla="*/ 142773 w 158001"/>
                <a:gd name="connsiteY3" fmla="*/ 42628 h 154313"/>
                <a:gd name="connsiteX4" fmla="*/ 55964 w 158001"/>
                <a:gd name="connsiteY4" fmla="*/ 2367 h 154313"/>
                <a:gd name="connsiteX5" fmla="*/ 42862 w 158001"/>
                <a:gd name="connsiteY5" fmla="*/ 2787 h 154313"/>
                <a:gd name="connsiteX6" fmla="*/ 5787 w 158001"/>
                <a:gd name="connsiteY6" fmla="*/ 39862 h 154313"/>
                <a:gd name="connsiteX7" fmla="*/ 0 w 158001"/>
                <a:gd name="connsiteY7" fmla="*/ 53829 h 154313"/>
                <a:gd name="connsiteX8" fmla="*/ 0 w 158001"/>
                <a:gd name="connsiteY8" fmla="*/ 72724 h 154313"/>
                <a:gd name="connsiteX9" fmla="*/ 50732 w 158001"/>
                <a:gd name="connsiteY9" fmla="*/ 148855 h 154313"/>
                <a:gd name="connsiteX10" fmla="*/ 93843 w 158001"/>
                <a:gd name="connsiteY10" fmla="*/ 152895 h 154313"/>
                <a:gd name="connsiteX11" fmla="*/ 29629 w 158001"/>
                <a:gd name="connsiteY11" fmla="*/ 75274 h 154313"/>
                <a:gd name="connsiteX12" fmla="*/ 29629 w 158001"/>
                <a:gd name="connsiteY12" fmla="*/ 52134 h 154313"/>
                <a:gd name="connsiteX13" fmla="*/ 35412 w 158001"/>
                <a:gd name="connsiteY13" fmla="*/ 38167 h 154313"/>
                <a:gd name="connsiteX14" fmla="*/ 44796 w 158001"/>
                <a:gd name="connsiteY14" fmla="*/ 28787 h 154313"/>
                <a:gd name="connsiteX15" fmla="*/ 56880 w 158001"/>
                <a:gd name="connsiteY15" fmla="*/ 27703 h 15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8001" h="154313">
                  <a:moveTo>
                    <a:pt x="56880" y="27703"/>
                  </a:moveTo>
                  <a:cubicBezTo>
                    <a:pt x="93600" y="52633"/>
                    <a:pt x="134337" y="61065"/>
                    <a:pt x="158002" y="63923"/>
                  </a:cubicBezTo>
                  <a:lnTo>
                    <a:pt x="158002" y="61850"/>
                  </a:lnTo>
                  <a:cubicBezTo>
                    <a:pt x="158005" y="52680"/>
                    <a:pt x="151705" y="44711"/>
                    <a:pt x="142773" y="42628"/>
                  </a:cubicBezTo>
                  <a:cubicBezTo>
                    <a:pt x="121861" y="37750"/>
                    <a:pt x="83702" y="26176"/>
                    <a:pt x="55964" y="2367"/>
                  </a:cubicBezTo>
                  <a:cubicBezTo>
                    <a:pt x="52129" y="-921"/>
                    <a:pt x="46436" y="-786"/>
                    <a:pt x="42862" y="2787"/>
                  </a:cubicBezTo>
                  <a:lnTo>
                    <a:pt x="5787" y="39862"/>
                  </a:lnTo>
                  <a:cubicBezTo>
                    <a:pt x="2083" y="43567"/>
                    <a:pt x="0" y="48593"/>
                    <a:pt x="0" y="53829"/>
                  </a:cubicBezTo>
                  <a:lnTo>
                    <a:pt x="0" y="72724"/>
                  </a:lnTo>
                  <a:cubicBezTo>
                    <a:pt x="0" y="106011"/>
                    <a:pt x="19810" y="136532"/>
                    <a:pt x="50732" y="148855"/>
                  </a:cubicBezTo>
                  <a:cubicBezTo>
                    <a:pt x="65839" y="154876"/>
                    <a:pt x="80474" y="155413"/>
                    <a:pt x="93843" y="152895"/>
                  </a:cubicBezTo>
                  <a:cubicBezTo>
                    <a:pt x="57375" y="145897"/>
                    <a:pt x="29629" y="113784"/>
                    <a:pt x="29629" y="75274"/>
                  </a:cubicBezTo>
                  <a:lnTo>
                    <a:pt x="29629" y="52134"/>
                  </a:lnTo>
                  <a:cubicBezTo>
                    <a:pt x="29629" y="46897"/>
                    <a:pt x="31707" y="41876"/>
                    <a:pt x="35412" y="38167"/>
                  </a:cubicBezTo>
                  <a:lnTo>
                    <a:pt x="44796" y="28787"/>
                  </a:lnTo>
                  <a:cubicBezTo>
                    <a:pt x="48033" y="25549"/>
                    <a:pt x="53092" y="25135"/>
                    <a:pt x="56880" y="27703"/>
                  </a:cubicBezTo>
                  <a:close/>
                </a:path>
              </a:pathLst>
            </a:custGeom>
            <a:solidFill>
              <a:srgbClr val="ECBD83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0" name="Forme libre : forme 269">
              <a:extLst>
                <a:ext uri="{FF2B5EF4-FFF2-40B4-BE49-F238E27FC236}">
                  <a16:creationId xmlns:a16="http://schemas.microsoft.com/office/drawing/2014/main" id="{4C0AA126-05C9-E450-169C-02FCA5F393A4}"/>
                </a:ext>
              </a:extLst>
            </p:cNvPr>
            <p:cNvSpPr/>
            <p:nvPr/>
          </p:nvSpPr>
          <p:spPr>
            <a:xfrm>
              <a:off x="3512938" y="2221195"/>
              <a:ext cx="130077" cy="83940"/>
            </a:xfrm>
            <a:custGeom>
              <a:avLst/>
              <a:gdLst>
                <a:gd name="connsiteX0" fmla="*/ 121361 w 130077"/>
                <a:gd name="connsiteY0" fmla="*/ 83940 h 83940"/>
                <a:gd name="connsiteX1" fmla="*/ 130077 w 130077"/>
                <a:gd name="connsiteY1" fmla="*/ 83530 h 83940"/>
                <a:gd name="connsiteX2" fmla="*/ 32483 w 130077"/>
                <a:gd name="connsiteY2" fmla="*/ 0 h 83940"/>
                <a:gd name="connsiteX3" fmla="*/ 0 w 130077"/>
                <a:gd name="connsiteY3" fmla="*/ 5582 h 83940"/>
                <a:gd name="connsiteX4" fmla="*/ 121361 w 130077"/>
                <a:gd name="connsiteY4" fmla="*/ 83940 h 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077" h="83940">
                  <a:moveTo>
                    <a:pt x="121361" y="83940"/>
                  </a:moveTo>
                  <a:cubicBezTo>
                    <a:pt x="124257" y="83940"/>
                    <a:pt x="127228" y="83712"/>
                    <a:pt x="130077" y="83530"/>
                  </a:cubicBezTo>
                  <a:cubicBezTo>
                    <a:pt x="122730" y="36249"/>
                    <a:pt x="81825" y="0"/>
                    <a:pt x="32483" y="0"/>
                  </a:cubicBezTo>
                  <a:cubicBezTo>
                    <a:pt x="21086" y="0"/>
                    <a:pt x="10184" y="2027"/>
                    <a:pt x="0" y="5582"/>
                  </a:cubicBezTo>
                  <a:cubicBezTo>
                    <a:pt x="20946" y="51761"/>
                    <a:pt x="67348" y="83940"/>
                    <a:pt x="121361" y="83940"/>
                  </a:cubicBezTo>
                  <a:close/>
                </a:path>
              </a:pathLst>
            </a:custGeom>
            <a:solidFill>
              <a:srgbClr val="8A605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1" name="Forme libre : forme 270">
              <a:extLst>
                <a:ext uri="{FF2B5EF4-FFF2-40B4-BE49-F238E27FC236}">
                  <a16:creationId xmlns:a16="http://schemas.microsoft.com/office/drawing/2014/main" id="{9631C2CA-BC82-A7FE-A7B9-68B497EE6CA2}"/>
                </a:ext>
              </a:extLst>
            </p:cNvPr>
            <p:cNvSpPr/>
            <p:nvPr/>
          </p:nvSpPr>
          <p:spPr>
            <a:xfrm>
              <a:off x="3417044" y="2485629"/>
              <a:ext cx="256753" cy="71319"/>
            </a:xfrm>
            <a:custGeom>
              <a:avLst/>
              <a:gdLst>
                <a:gd name="connsiteX0" fmla="*/ 256753 w 256753"/>
                <a:gd name="connsiteY0" fmla="*/ 51570 h 71319"/>
                <a:gd name="connsiteX1" fmla="*/ 256753 w 256753"/>
                <a:gd name="connsiteY1" fmla="*/ 40900 h 71319"/>
                <a:gd name="connsiteX2" fmla="*/ 239541 w 256753"/>
                <a:gd name="connsiteY2" fmla="*/ 13999 h 71319"/>
                <a:gd name="connsiteX3" fmla="*/ 209211 w 256753"/>
                <a:gd name="connsiteY3" fmla="*/ 0 h 71319"/>
                <a:gd name="connsiteX4" fmla="*/ 47542 w 256753"/>
                <a:gd name="connsiteY4" fmla="*/ 0 h 71319"/>
                <a:gd name="connsiteX5" fmla="*/ 17213 w 256753"/>
                <a:gd name="connsiteY5" fmla="*/ 13999 h 71319"/>
                <a:gd name="connsiteX6" fmla="*/ 0 w 256753"/>
                <a:gd name="connsiteY6" fmla="*/ 40900 h 71319"/>
                <a:gd name="connsiteX7" fmla="*/ 0 w 256753"/>
                <a:gd name="connsiteY7" fmla="*/ 51570 h 71319"/>
                <a:gd name="connsiteX8" fmla="*/ 19749 w 256753"/>
                <a:gd name="connsiteY8" fmla="*/ 71320 h 71319"/>
                <a:gd name="connsiteX9" fmla="*/ 237004 w 256753"/>
                <a:gd name="connsiteY9" fmla="*/ 71320 h 71319"/>
                <a:gd name="connsiteX10" fmla="*/ 256753 w 256753"/>
                <a:gd name="connsiteY10" fmla="*/ 51570 h 7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753" h="71319">
                  <a:moveTo>
                    <a:pt x="256753" y="51570"/>
                  </a:moveTo>
                  <a:lnTo>
                    <a:pt x="256753" y="40900"/>
                  </a:lnTo>
                  <a:cubicBezTo>
                    <a:pt x="256753" y="29344"/>
                    <a:pt x="250032" y="18844"/>
                    <a:pt x="239541" y="13999"/>
                  </a:cubicBezTo>
                  <a:lnTo>
                    <a:pt x="209211" y="0"/>
                  </a:lnTo>
                  <a:cubicBezTo>
                    <a:pt x="161930" y="42307"/>
                    <a:pt x="94823" y="42307"/>
                    <a:pt x="47542" y="0"/>
                  </a:cubicBezTo>
                  <a:lnTo>
                    <a:pt x="17213" y="13999"/>
                  </a:lnTo>
                  <a:cubicBezTo>
                    <a:pt x="6722" y="18844"/>
                    <a:pt x="0" y="29344"/>
                    <a:pt x="0" y="40900"/>
                  </a:cubicBezTo>
                  <a:lnTo>
                    <a:pt x="0" y="51570"/>
                  </a:lnTo>
                  <a:cubicBezTo>
                    <a:pt x="0" y="62477"/>
                    <a:pt x="8842" y="71320"/>
                    <a:pt x="19749" y="71320"/>
                  </a:cubicBezTo>
                  <a:lnTo>
                    <a:pt x="237004" y="71320"/>
                  </a:lnTo>
                  <a:cubicBezTo>
                    <a:pt x="247911" y="71320"/>
                    <a:pt x="256753" y="62477"/>
                    <a:pt x="256753" y="51570"/>
                  </a:cubicBezTo>
                  <a:close/>
                </a:path>
              </a:pathLst>
            </a:custGeom>
            <a:solidFill>
              <a:srgbClr val="9258A2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2" name="Forme libre : forme 271">
              <a:extLst>
                <a:ext uri="{FF2B5EF4-FFF2-40B4-BE49-F238E27FC236}">
                  <a16:creationId xmlns:a16="http://schemas.microsoft.com/office/drawing/2014/main" id="{18B28255-B541-0ECC-067F-D9E0971EDB08}"/>
                </a:ext>
              </a:extLst>
            </p:cNvPr>
            <p:cNvSpPr/>
            <p:nvPr/>
          </p:nvSpPr>
          <p:spPr>
            <a:xfrm>
              <a:off x="3417044" y="2498456"/>
              <a:ext cx="256753" cy="58493"/>
            </a:xfrm>
            <a:custGeom>
              <a:avLst/>
              <a:gdLst>
                <a:gd name="connsiteX0" fmla="*/ 19749 w 256753"/>
                <a:gd name="connsiteY0" fmla="*/ 0 h 58493"/>
                <a:gd name="connsiteX1" fmla="*/ 17213 w 256753"/>
                <a:gd name="connsiteY1" fmla="*/ 1173 h 58493"/>
                <a:gd name="connsiteX2" fmla="*/ 0 w 256753"/>
                <a:gd name="connsiteY2" fmla="*/ 28074 h 58493"/>
                <a:gd name="connsiteX3" fmla="*/ 0 w 256753"/>
                <a:gd name="connsiteY3" fmla="*/ 38743 h 58493"/>
                <a:gd name="connsiteX4" fmla="*/ 19749 w 256753"/>
                <a:gd name="connsiteY4" fmla="*/ 58493 h 58493"/>
                <a:gd name="connsiteX5" fmla="*/ 237004 w 256753"/>
                <a:gd name="connsiteY5" fmla="*/ 58493 h 58493"/>
                <a:gd name="connsiteX6" fmla="*/ 256753 w 256753"/>
                <a:gd name="connsiteY6" fmla="*/ 38743 h 58493"/>
                <a:gd name="connsiteX7" fmla="*/ 49374 w 256753"/>
                <a:gd name="connsiteY7" fmla="*/ 38743 h 58493"/>
                <a:gd name="connsiteX8" fmla="*/ 19749 w 256753"/>
                <a:gd name="connsiteY8" fmla="*/ 9118 h 5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753" h="58493">
                  <a:moveTo>
                    <a:pt x="19749" y="0"/>
                  </a:moveTo>
                  <a:lnTo>
                    <a:pt x="17213" y="1173"/>
                  </a:lnTo>
                  <a:cubicBezTo>
                    <a:pt x="6722" y="6017"/>
                    <a:pt x="0" y="16518"/>
                    <a:pt x="0" y="28074"/>
                  </a:cubicBezTo>
                  <a:lnTo>
                    <a:pt x="0" y="38743"/>
                  </a:lnTo>
                  <a:cubicBezTo>
                    <a:pt x="0" y="49650"/>
                    <a:pt x="8842" y="58493"/>
                    <a:pt x="19749" y="58493"/>
                  </a:cubicBezTo>
                  <a:lnTo>
                    <a:pt x="237004" y="58493"/>
                  </a:lnTo>
                  <a:cubicBezTo>
                    <a:pt x="247911" y="58493"/>
                    <a:pt x="256753" y="49650"/>
                    <a:pt x="256753" y="38743"/>
                  </a:cubicBezTo>
                  <a:lnTo>
                    <a:pt x="49374" y="38743"/>
                  </a:lnTo>
                  <a:cubicBezTo>
                    <a:pt x="33015" y="38743"/>
                    <a:pt x="19749" y="25477"/>
                    <a:pt x="19749" y="9118"/>
                  </a:cubicBezTo>
                  <a:close/>
                </a:path>
              </a:pathLst>
            </a:custGeom>
            <a:solidFill>
              <a:srgbClr val="9258A2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3" name="Forme libre : forme 272">
              <a:extLst>
                <a:ext uri="{FF2B5EF4-FFF2-40B4-BE49-F238E27FC236}">
                  <a16:creationId xmlns:a16="http://schemas.microsoft.com/office/drawing/2014/main" id="{85AEEB7C-0869-D948-31F6-05514767102A}"/>
                </a:ext>
              </a:extLst>
            </p:cNvPr>
            <p:cNvSpPr/>
            <p:nvPr/>
          </p:nvSpPr>
          <p:spPr>
            <a:xfrm>
              <a:off x="3515797" y="2073069"/>
              <a:ext cx="59247" cy="59248"/>
            </a:xfrm>
            <a:custGeom>
              <a:avLst/>
              <a:gdLst>
                <a:gd name="connsiteX0" fmla="*/ 59248 w 59247"/>
                <a:gd name="connsiteY0" fmla="*/ 29624 h 59248"/>
                <a:gd name="connsiteX1" fmla="*/ 29624 w 59247"/>
                <a:gd name="connsiteY1" fmla="*/ 59249 h 59248"/>
                <a:gd name="connsiteX2" fmla="*/ 0 w 59247"/>
                <a:gd name="connsiteY2" fmla="*/ 29624 h 59248"/>
                <a:gd name="connsiteX3" fmla="*/ 29624 w 59247"/>
                <a:gd name="connsiteY3" fmla="*/ 0 h 59248"/>
                <a:gd name="connsiteX4" fmla="*/ 59248 w 59247"/>
                <a:gd name="connsiteY4" fmla="*/ 29624 h 5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7" h="59248">
                  <a:moveTo>
                    <a:pt x="59248" y="29624"/>
                  </a:moveTo>
                  <a:cubicBezTo>
                    <a:pt x="59248" y="45987"/>
                    <a:pt x="45987" y="59249"/>
                    <a:pt x="29624" y="59249"/>
                  </a:cubicBezTo>
                  <a:cubicBezTo>
                    <a:pt x="13260" y="59249"/>
                    <a:pt x="0" y="45987"/>
                    <a:pt x="0" y="29624"/>
                  </a:cubicBezTo>
                  <a:cubicBezTo>
                    <a:pt x="0" y="13261"/>
                    <a:pt x="13260" y="0"/>
                    <a:pt x="29624" y="0"/>
                  </a:cubicBezTo>
                  <a:cubicBezTo>
                    <a:pt x="45987" y="0"/>
                    <a:pt x="59248" y="13261"/>
                    <a:pt x="59248" y="29624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grpSp>
          <p:nvGrpSpPr>
            <p:cNvPr id="274" name="Graphique 897">
              <a:extLst>
                <a:ext uri="{FF2B5EF4-FFF2-40B4-BE49-F238E27FC236}">
                  <a16:creationId xmlns:a16="http://schemas.microsoft.com/office/drawing/2014/main" id="{F866F67E-1C47-672F-6826-DB788A525A65}"/>
                </a:ext>
              </a:extLst>
            </p:cNvPr>
            <p:cNvGrpSpPr/>
            <p:nvPr/>
          </p:nvGrpSpPr>
          <p:grpSpPr>
            <a:xfrm>
              <a:off x="3267744" y="2101530"/>
              <a:ext cx="555349" cy="555338"/>
              <a:chOff x="3267744" y="2101530"/>
              <a:chExt cx="555349" cy="555338"/>
            </a:xfrm>
            <a:solidFill>
              <a:srgbClr val="ECEAEC"/>
            </a:solidFill>
          </p:grpSpPr>
          <p:sp>
            <p:nvSpPr>
              <p:cNvPr id="290" name="Forme libre : forme 289">
                <a:extLst>
                  <a:ext uri="{FF2B5EF4-FFF2-40B4-BE49-F238E27FC236}">
                    <a16:creationId xmlns:a16="http://schemas.microsoft.com/office/drawing/2014/main" id="{CDD7C785-6606-870C-65AD-340FA09FDE9C}"/>
                  </a:ext>
                </a:extLst>
              </p:cNvPr>
              <p:cNvSpPr/>
              <p:nvPr/>
            </p:nvSpPr>
            <p:spPr>
              <a:xfrm>
                <a:off x="3267748" y="2438452"/>
                <a:ext cx="49371" cy="91030"/>
              </a:xfrm>
              <a:custGeom>
                <a:avLst/>
                <a:gdLst>
                  <a:gd name="connsiteX0" fmla="*/ 39505 w 49371"/>
                  <a:gd name="connsiteY0" fmla="*/ 91031 h 91030"/>
                  <a:gd name="connsiteX1" fmla="*/ 30989 w 49371"/>
                  <a:gd name="connsiteY1" fmla="*/ 86182 h 91030"/>
                  <a:gd name="connsiteX2" fmla="*/ 314 w 49371"/>
                  <a:gd name="connsiteY2" fmla="*/ 12330 h 91030"/>
                  <a:gd name="connsiteX3" fmla="*/ 7419 w 49371"/>
                  <a:gd name="connsiteY3" fmla="*/ 308 h 91030"/>
                  <a:gd name="connsiteX4" fmla="*/ 19447 w 49371"/>
                  <a:gd name="connsiteY4" fmla="*/ 7412 h 91030"/>
                  <a:gd name="connsiteX5" fmla="*/ 48002 w 49371"/>
                  <a:gd name="connsiteY5" fmla="*/ 76134 h 91030"/>
                  <a:gd name="connsiteX6" fmla="*/ 44517 w 49371"/>
                  <a:gd name="connsiteY6" fmla="*/ 89666 h 91030"/>
                  <a:gd name="connsiteX7" fmla="*/ 39505 w 49371"/>
                  <a:gd name="connsiteY7" fmla="*/ 91031 h 91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371" h="91030">
                    <a:moveTo>
                      <a:pt x="39505" y="91031"/>
                    </a:moveTo>
                    <a:cubicBezTo>
                      <a:pt x="36128" y="91031"/>
                      <a:pt x="32830" y="89298"/>
                      <a:pt x="30989" y="86182"/>
                    </a:cubicBezTo>
                    <a:cubicBezTo>
                      <a:pt x="17266" y="62943"/>
                      <a:pt x="6947" y="38087"/>
                      <a:pt x="314" y="12330"/>
                    </a:cubicBezTo>
                    <a:cubicBezTo>
                      <a:pt x="-1045" y="7057"/>
                      <a:pt x="2136" y="1666"/>
                      <a:pt x="7419" y="308"/>
                    </a:cubicBezTo>
                    <a:cubicBezTo>
                      <a:pt x="12664" y="-1033"/>
                      <a:pt x="18088" y="2129"/>
                      <a:pt x="19447" y="7412"/>
                    </a:cubicBezTo>
                    <a:cubicBezTo>
                      <a:pt x="25608" y="31365"/>
                      <a:pt x="35221" y="54492"/>
                      <a:pt x="48002" y="76134"/>
                    </a:cubicBezTo>
                    <a:cubicBezTo>
                      <a:pt x="50767" y="80829"/>
                      <a:pt x="49216" y="86887"/>
                      <a:pt x="44517" y="89666"/>
                    </a:cubicBezTo>
                    <a:cubicBezTo>
                      <a:pt x="42938" y="90587"/>
                      <a:pt x="41210" y="91031"/>
                      <a:pt x="39505" y="91031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1" name="Forme libre : forme 290">
                <a:extLst>
                  <a:ext uri="{FF2B5EF4-FFF2-40B4-BE49-F238E27FC236}">
                    <a16:creationId xmlns:a16="http://schemas.microsoft.com/office/drawing/2014/main" id="{C3C6FB27-B65C-A165-FDED-38D69BE4EF51}"/>
                  </a:ext>
                </a:extLst>
              </p:cNvPr>
              <p:cNvSpPr/>
              <p:nvPr/>
            </p:nvSpPr>
            <p:spPr>
              <a:xfrm>
                <a:off x="3267744" y="2228921"/>
                <a:ext cx="49373" cy="91026"/>
              </a:xfrm>
              <a:custGeom>
                <a:avLst/>
                <a:gdLst>
                  <a:gd name="connsiteX0" fmla="*/ 9894 w 49373"/>
                  <a:gd name="connsiteY0" fmla="*/ 91027 h 91026"/>
                  <a:gd name="connsiteX1" fmla="*/ 7423 w 49373"/>
                  <a:gd name="connsiteY1" fmla="*/ 90718 h 91026"/>
                  <a:gd name="connsiteX2" fmla="*/ 314 w 49373"/>
                  <a:gd name="connsiteY2" fmla="*/ 78691 h 91026"/>
                  <a:gd name="connsiteX3" fmla="*/ 30994 w 49373"/>
                  <a:gd name="connsiteY3" fmla="*/ 4840 h 91026"/>
                  <a:gd name="connsiteX4" fmla="*/ 44521 w 49373"/>
                  <a:gd name="connsiteY4" fmla="*/ 1360 h 91026"/>
                  <a:gd name="connsiteX5" fmla="*/ 48001 w 49373"/>
                  <a:gd name="connsiteY5" fmla="*/ 14892 h 91026"/>
                  <a:gd name="connsiteX6" fmla="*/ 19447 w 49373"/>
                  <a:gd name="connsiteY6" fmla="*/ 83609 h 91026"/>
                  <a:gd name="connsiteX7" fmla="*/ 9894 w 49373"/>
                  <a:gd name="connsiteY7" fmla="*/ 91027 h 91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373" h="91026">
                    <a:moveTo>
                      <a:pt x="9894" y="91027"/>
                    </a:moveTo>
                    <a:cubicBezTo>
                      <a:pt x="9072" y="91027"/>
                      <a:pt x="8245" y="90929"/>
                      <a:pt x="7423" y="90718"/>
                    </a:cubicBezTo>
                    <a:cubicBezTo>
                      <a:pt x="2140" y="89360"/>
                      <a:pt x="-1046" y="83969"/>
                      <a:pt x="314" y="78691"/>
                    </a:cubicBezTo>
                    <a:cubicBezTo>
                      <a:pt x="6951" y="52934"/>
                      <a:pt x="17270" y="28083"/>
                      <a:pt x="30994" y="4840"/>
                    </a:cubicBezTo>
                    <a:cubicBezTo>
                      <a:pt x="33768" y="154"/>
                      <a:pt x="39827" y="-1387"/>
                      <a:pt x="44521" y="1360"/>
                    </a:cubicBezTo>
                    <a:cubicBezTo>
                      <a:pt x="49216" y="4139"/>
                      <a:pt x="50771" y="10192"/>
                      <a:pt x="48001" y="14892"/>
                    </a:cubicBezTo>
                    <a:cubicBezTo>
                      <a:pt x="35226" y="36529"/>
                      <a:pt x="25613" y="59656"/>
                      <a:pt x="19447" y="83609"/>
                    </a:cubicBezTo>
                    <a:cubicBezTo>
                      <a:pt x="18302" y="88066"/>
                      <a:pt x="14290" y="91027"/>
                      <a:pt x="9894" y="91027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2" name="Forme libre : forme 291">
                <a:extLst>
                  <a:ext uri="{FF2B5EF4-FFF2-40B4-BE49-F238E27FC236}">
                    <a16:creationId xmlns:a16="http://schemas.microsoft.com/office/drawing/2014/main" id="{93EFE97B-A6F2-E9DB-1F38-3E7E8B6C24F3}"/>
                  </a:ext>
                </a:extLst>
              </p:cNvPr>
              <p:cNvSpPr/>
              <p:nvPr/>
            </p:nvSpPr>
            <p:spPr>
              <a:xfrm>
                <a:off x="3604664" y="2101530"/>
                <a:ext cx="91052" cy="49364"/>
              </a:xfrm>
              <a:custGeom>
                <a:avLst/>
                <a:gdLst>
                  <a:gd name="connsiteX0" fmla="*/ 81167 w 91052"/>
                  <a:gd name="connsiteY0" fmla="*/ 49364 h 49364"/>
                  <a:gd name="connsiteX1" fmla="*/ 76155 w 91052"/>
                  <a:gd name="connsiteY1" fmla="*/ 47995 h 49364"/>
                  <a:gd name="connsiteX2" fmla="*/ 7423 w 91052"/>
                  <a:gd name="connsiteY2" fmla="*/ 19441 h 49364"/>
                  <a:gd name="connsiteX3" fmla="*/ 314 w 91052"/>
                  <a:gd name="connsiteY3" fmla="*/ 7413 h 49364"/>
                  <a:gd name="connsiteX4" fmla="*/ 12337 w 91052"/>
                  <a:gd name="connsiteY4" fmla="*/ 308 h 49364"/>
                  <a:gd name="connsiteX5" fmla="*/ 86202 w 91052"/>
                  <a:gd name="connsiteY5" fmla="*/ 30983 h 49364"/>
                  <a:gd name="connsiteX6" fmla="*/ 89682 w 91052"/>
                  <a:gd name="connsiteY6" fmla="*/ 44511 h 49364"/>
                  <a:gd name="connsiteX7" fmla="*/ 81167 w 91052"/>
                  <a:gd name="connsiteY7" fmla="*/ 49364 h 4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052" h="49364">
                    <a:moveTo>
                      <a:pt x="81167" y="49364"/>
                    </a:moveTo>
                    <a:cubicBezTo>
                      <a:pt x="79461" y="49364"/>
                      <a:pt x="77733" y="48920"/>
                      <a:pt x="76155" y="47995"/>
                    </a:cubicBezTo>
                    <a:cubicBezTo>
                      <a:pt x="54532" y="35215"/>
                      <a:pt x="31405" y="25611"/>
                      <a:pt x="7423" y="19441"/>
                    </a:cubicBezTo>
                    <a:cubicBezTo>
                      <a:pt x="2135" y="18081"/>
                      <a:pt x="-1046" y="12686"/>
                      <a:pt x="314" y="7413"/>
                    </a:cubicBezTo>
                    <a:cubicBezTo>
                      <a:pt x="1673" y="2129"/>
                      <a:pt x="7124" y="-1033"/>
                      <a:pt x="12337" y="308"/>
                    </a:cubicBezTo>
                    <a:cubicBezTo>
                      <a:pt x="38127" y="6950"/>
                      <a:pt x="62977" y="17269"/>
                      <a:pt x="86202" y="30983"/>
                    </a:cubicBezTo>
                    <a:cubicBezTo>
                      <a:pt x="90897" y="33758"/>
                      <a:pt x="92448" y="39816"/>
                      <a:pt x="89682" y="44511"/>
                    </a:cubicBezTo>
                    <a:cubicBezTo>
                      <a:pt x="87842" y="47626"/>
                      <a:pt x="84544" y="49364"/>
                      <a:pt x="81167" y="49364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3" name="Forme libre : forme 292">
                <a:extLst>
                  <a:ext uri="{FF2B5EF4-FFF2-40B4-BE49-F238E27FC236}">
                    <a16:creationId xmlns:a16="http://schemas.microsoft.com/office/drawing/2014/main" id="{86C573E4-AE1B-C389-1FF5-0A77533F7514}"/>
                  </a:ext>
                </a:extLst>
              </p:cNvPr>
              <p:cNvSpPr/>
              <p:nvPr/>
            </p:nvSpPr>
            <p:spPr>
              <a:xfrm>
                <a:off x="3395132" y="2607507"/>
                <a:ext cx="91045" cy="49361"/>
              </a:xfrm>
              <a:custGeom>
                <a:avLst/>
                <a:gdLst>
                  <a:gd name="connsiteX0" fmla="*/ 81174 w 91045"/>
                  <a:gd name="connsiteY0" fmla="*/ 49362 h 49361"/>
                  <a:gd name="connsiteX1" fmla="*/ 78704 w 91045"/>
                  <a:gd name="connsiteY1" fmla="*/ 49053 h 49361"/>
                  <a:gd name="connsiteX2" fmla="*/ 4852 w 91045"/>
                  <a:gd name="connsiteY2" fmla="*/ 18373 h 49361"/>
                  <a:gd name="connsiteX3" fmla="*/ 1373 w 91045"/>
                  <a:gd name="connsiteY3" fmla="*/ 4846 h 49361"/>
                  <a:gd name="connsiteX4" fmla="*/ 14900 w 91045"/>
                  <a:gd name="connsiteY4" fmla="*/ 1365 h 49361"/>
                  <a:gd name="connsiteX5" fmla="*/ 83622 w 91045"/>
                  <a:gd name="connsiteY5" fmla="*/ 29920 h 49361"/>
                  <a:gd name="connsiteX6" fmla="*/ 90731 w 91045"/>
                  <a:gd name="connsiteY6" fmla="*/ 41944 h 49361"/>
                  <a:gd name="connsiteX7" fmla="*/ 81174 w 91045"/>
                  <a:gd name="connsiteY7" fmla="*/ 49362 h 49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045" h="49361">
                    <a:moveTo>
                      <a:pt x="81174" y="49362"/>
                    </a:moveTo>
                    <a:cubicBezTo>
                      <a:pt x="80353" y="49362"/>
                      <a:pt x="79525" y="49264"/>
                      <a:pt x="78704" y="49053"/>
                    </a:cubicBezTo>
                    <a:cubicBezTo>
                      <a:pt x="52905" y="42407"/>
                      <a:pt x="28063" y="32088"/>
                      <a:pt x="4852" y="18373"/>
                    </a:cubicBezTo>
                    <a:cubicBezTo>
                      <a:pt x="158" y="15599"/>
                      <a:pt x="-1398" y="9540"/>
                      <a:pt x="1373" y="4846"/>
                    </a:cubicBezTo>
                    <a:cubicBezTo>
                      <a:pt x="4161" y="161"/>
                      <a:pt x="10205" y="-1395"/>
                      <a:pt x="14900" y="1365"/>
                    </a:cubicBezTo>
                    <a:cubicBezTo>
                      <a:pt x="36513" y="14141"/>
                      <a:pt x="59640" y="23745"/>
                      <a:pt x="83622" y="29920"/>
                    </a:cubicBezTo>
                    <a:cubicBezTo>
                      <a:pt x="88910" y="31280"/>
                      <a:pt x="92091" y="36671"/>
                      <a:pt x="90731" y="41944"/>
                    </a:cubicBezTo>
                    <a:cubicBezTo>
                      <a:pt x="89582" y="46401"/>
                      <a:pt x="85570" y="49362"/>
                      <a:pt x="81174" y="49362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4" name="Forme libre : forme 293">
                <a:extLst>
                  <a:ext uri="{FF2B5EF4-FFF2-40B4-BE49-F238E27FC236}">
                    <a16:creationId xmlns:a16="http://schemas.microsoft.com/office/drawing/2014/main" id="{94A7442C-02F3-3908-B248-1043E01C882A}"/>
                  </a:ext>
                </a:extLst>
              </p:cNvPr>
              <p:cNvSpPr/>
              <p:nvPr/>
            </p:nvSpPr>
            <p:spPr>
              <a:xfrm>
                <a:off x="3604664" y="2607507"/>
                <a:ext cx="91055" cy="49361"/>
              </a:xfrm>
              <a:custGeom>
                <a:avLst/>
                <a:gdLst>
                  <a:gd name="connsiteX0" fmla="*/ 9871 w 91055"/>
                  <a:gd name="connsiteY0" fmla="*/ 49362 h 49361"/>
                  <a:gd name="connsiteX1" fmla="*/ 314 w 91055"/>
                  <a:gd name="connsiteY1" fmla="*/ 41944 h 49361"/>
                  <a:gd name="connsiteX2" fmla="*/ 7423 w 91055"/>
                  <a:gd name="connsiteY2" fmla="*/ 29920 h 49361"/>
                  <a:gd name="connsiteX3" fmla="*/ 76155 w 91055"/>
                  <a:gd name="connsiteY3" fmla="*/ 1365 h 49361"/>
                  <a:gd name="connsiteX4" fmla="*/ 89682 w 91055"/>
                  <a:gd name="connsiteY4" fmla="*/ 4846 h 49361"/>
                  <a:gd name="connsiteX5" fmla="*/ 86202 w 91055"/>
                  <a:gd name="connsiteY5" fmla="*/ 18373 h 49361"/>
                  <a:gd name="connsiteX6" fmla="*/ 12342 w 91055"/>
                  <a:gd name="connsiteY6" fmla="*/ 49053 h 49361"/>
                  <a:gd name="connsiteX7" fmla="*/ 9871 w 91055"/>
                  <a:gd name="connsiteY7" fmla="*/ 49362 h 49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055" h="49361">
                    <a:moveTo>
                      <a:pt x="9871" y="49362"/>
                    </a:moveTo>
                    <a:cubicBezTo>
                      <a:pt x="5475" y="49362"/>
                      <a:pt x="1463" y="46401"/>
                      <a:pt x="314" y="41944"/>
                    </a:cubicBezTo>
                    <a:cubicBezTo>
                      <a:pt x="-1046" y="36671"/>
                      <a:pt x="2135" y="31280"/>
                      <a:pt x="7423" y="29920"/>
                    </a:cubicBezTo>
                    <a:cubicBezTo>
                      <a:pt x="31405" y="23745"/>
                      <a:pt x="54532" y="14141"/>
                      <a:pt x="76155" y="1365"/>
                    </a:cubicBezTo>
                    <a:cubicBezTo>
                      <a:pt x="80872" y="-1395"/>
                      <a:pt x="86917" y="161"/>
                      <a:pt x="89682" y="4846"/>
                    </a:cubicBezTo>
                    <a:cubicBezTo>
                      <a:pt x="92452" y="9540"/>
                      <a:pt x="90902" y="15599"/>
                      <a:pt x="86202" y="18373"/>
                    </a:cubicBezTo>
                    <a:cubicBezTo>
                      <a:pt x="62982" y="32088"/>
                      <a:pt x="38132" y="42407"/>
                      <a:pt x="12342" y="49053"/>
                    </a:cubicBezTo>
                    <a:cubicBezTo>
                      <a:pt x="11520" y="49264"/>
                      <a:pt x="10693" y="49362"/>
                      <a:pt x="9871" y="49362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5" name="Forme libre : forme 294">
                <a:extLst>
                  <a:ext uri="{FF2B5EF4-FFF2-40B4-BE49-F238E27FC236}">
                    <a16:creationId xmlns:a16="http://schemas.microsoft.com/office/drawing/2014/main" id="{90CE72FA-360C-407C-57F0-9FFE185D409D}"/>
                  </a:ext>
                </a:extLst>
              </p:cNvPr>
              <p:cNvSpPr/>
              <p:nvPr/>
            </p:nvSpPr>
            <p:spPr>
              <a:xfrm>
                <a:off x="3773722" y="2228919"/>
                <a:ext cx="49371" cy="91028"/>
              </a:xfrm>
              <a:custGeom>
                <a:avLst/>
                <a:gdLst>
                  <a:gd name="connsiteX0" fmla="*/ 39482 w 49371"/>
                  <a:gd name="connsiteY0" fmla="*/ 91029 h 91028"/>
                  <a:gd name="connsiteX1" fmla="*/ 29924 w 49371"/>
                  <a:gd name="connsiteY1" fmla="*/ 83611 h 91028"/>
                  <a:gd name="connsiteX2" fmla="*/ 1370 w 49371"/>
                  <a:gd name="connsiteY2" fmla="*/ 14889 h 91028"/>
                  <a:gd name="connsiteX3" fmla="*/ 4855 w 49371"/>
                  <a:gd name="connsiteY3" fmla="*/ 1362 h 91028"/>
                  <a:gd name="connsiteX4" fmla="*/ 18382 w 49371"/>
                  <a:gd name="connsiteY4" fmla="*/ 4842 h 91028"/>
                  <a:gd name="connsiteX5" fmla="*/ 49057 w 49371"/>
                  <a:gd name="connsiteY5" fmla="*/ 78693 h 91028"/>
                  <a:gd name="connsiteX6" fmla="*/ 41953 w 49371"/>
                  <a:gd name="connsiteY6" fmla="*/ 90716 h 91028"/>
                  <a:gd name="connsiteX7" fmla="*/ 39482 w 49371"/>
                  <a:gd name="connsiteY7" fmla="*/ 91029 h 9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371" h="91028">
                    <a:moveTo>
                      <a:pt x="39482" y="91029"/>
                    </a:moveTo>
                    <a:cubicBezTo>
                      <a:pt x="35086" y="91029"/>
                      <a:pt x="31073" y="88068"/>
                      <a:pt x="29924" y="83611"/>
                    </a:cubicBezTo>
                    <a:cubicBezTo>
                      <a:pt x="23754" y="59629"/>
                      <a:pt x="14150" y="36502"/>
                      <a:pt x="1370" y="14889"/>
                    </a:cubicBezTo>
                    <a:cubicBezTo>
                      <a:pt x="-1396" y="10194"/>
                      <a:pt x="155" y="4136"/>
                      <a:pt x="4855" y="1362"/>
                    </a:cubicBezTo>
                    <a:cubicBezTo>
                      <a:pt x="9577" y="-1390"/>
                      <a:pt x="15598" y="157"/>
                      <a:pt x="18382" y="4842"/>
                    </a:cubicBezTo>
                    <a:cubicBezTo>
                      <a:pt x="32097" y="28053"/>
                      <a:pt x="42415" y="52894"/>
                      <a:pt x="49057" y="78693"/>
                    </a:cubicBezTo>
                    <a:cubicBezTo>
                      <a:pt x="50417" y="83966"/>
                      <a:pt x="47236" y="89357"/>
                      <a:pt x="41953" y="90716"/>
                    </a:cubicBezTo>
                    <a:cubicBezTo>
                      <a:pt x="41135" y="90931"/>
                      <a:pt x="40304" y="91029"/>
                      <a:pt x="39482" y="91029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6" name="Forme libre : forme 295">
                <a:extLst>
                  <a:ext uri="{FF2B5EF4-FFF2-40B4-BE49-F238E27FC236}">
                    <a16:creationId xmlns:a16="http://schemas.microsoft.com/office/drawing/2014/main" id="{83164EFC-DB20-4E8B-E486-CBFB4A1F39FF}"/>
                  </a:ext>
                </a:extLst>
              </p:cNvPr>
              <p:cNvSpPr/>
              <p:nvPr/>
            </p:nvSpPr>
            <p:spPr>
              <a:xfrm>
                <a:off x="3773722" y="2438444"/>
                <a:ext cx="49371" cy="91038"/>
              </a:xfrm>
              <a:custGeom>
                <a:avLst/>
                <a:gdLst>
                  <a:gd name="connsiteX0" fmla="*/ 9867 w 49371"/>
                  <a:gd name="connsiteY0" fmla="*/ 91039 h 91038"/>
                  <a:gd name="connsiteX1" fmla="*/ 4855 w 49371"/>
                  <a:gd name="connsiteY1" fmla="*/ 89669 h 91038"/>
                  <a:gd name="connsiteX2" fmla="*/ 1370 w 49371"/>
                  <a:gd name="connsiteY2" fmla="*/ 76142 h 91038"/>
                  <a:gd name="connsiteX3" fmla="*/ 29924 w 49371"/>
                  <a:gd name="connsiteY3" fmla="*/ 7420 h 91038"/>
                  <a:gd name="connsiteX4" fmla="*/ 41953 w 49371"/>
                  <a:gd name="connsiteY4" fmla="*/ 311 h 91038"/>
                  <a:gd name="connsiteX5" fmla="*/ 49057 w 49371"/>
                  <a:gd name="connsiteY5" fmla="*/ 12334 h 91038"/>
                  <a:gd name="connsiteX6" fmla="*/ 18382 w 49371"/>
                  <a:gd name="connsiteY6" fmla="*/ 86185 h 91038"/>
                  <a:gd name="connsiteX7" fmla="*/ 9867 w 49371"/>
                  <a:gd name="connsiteY7" fmla="*/ 91039 h 91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371" h="91038">
                    <a:moveTo>
                      <a:pt x="9867" y="91039"/>
                    </a:moveTo>
                    <a:cubicBezTo>
                      <a:pt x="8161" y="91039"/>
                      <a:pt x="6433" y="90595"/>
                      <a:pt x="4855" y="89669"/>
                    </a:cubicBezTo>
                    <a:cubicBezTo>
                      <a:pt x="155" y="86895"/>
                      <a:pt x="-1396" y="80837"/>
                      <a:pt x="1370" y="76142"/>
                    </a:cubicBezTo>
                    <a:cubicBezTo>
                      <a:pt x="14150" y="54529"/>
                      <a:pt x="23754" y="31402"/>
                      <a:pt x="29924" y="7420"/>
                    </a:cubicBezTo>
                    <a:cubicBezTo>
                      <a:pt x="31284" y="2132"/>
                      <a:pt x="36753" y="-1039"/>
                      <a:pt x="41953" y="311"/>
                    </a:cubicBezTo>
                    <a:cubicBezTo>
                      <a:pt x="47236" y="1669"/>
                      <a:pt x="50417" y="7060"/>
                      <a:pt x="49057" y="12334"/>
                    </a:cubicBezTo>
                    <a:cubicBezTo>
                      <a:pt x="42415" y="38133"/>
                      <a:pt x="32097" y="62974"/>
                      <a:pt x="18382" y="86185"/>
                    </a:cubicBezTo>
                    <a:cubicBezTo>
                      <a:pt x="16532" y="89306"/>
                      <a:pt x="13244" y="91039"/>
                      <a:pt x="9867" y="91039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  <p:sp>
            <p:nvSpPr>
              <p:cNvPr id="297" name="Forme libre : forme 296">
                <a:extLst>
                  <a:ext uri="{FF2B5EF4-FFF2-40B4-BE49-F238E27FC236}">
                    <a16:creationId xmlns:a16="http://schemas.microsoft.com/office/drawing/2014/main" id="{AE25EAB6-D2F3-B53F-F96C-1D84B77FAC9F}"/>
                  </a:ext>
                </a:extLst>
              </p:cNvPr>
              <p:cNvSpPr/>
              <p:nvPr/>
            </p:nvSpPr>
            <p:spPr>
              <a:xfrm>
                <a:off x="3395132" y="2101534"/>
                <a:ext cx="91040" cy="49360"/>
              </a:xfrm>
              <a:custGeom>
                <a:avLst/>
                <a:gdLst>
                  <a:gd name="connsiteX0" fmla="*/ 9888 w 91040"/>
                  <a:gd name="connsiteY0" fmla="*/ 49361 h 49360"/>
                  <a:gd name="connsiteX1" fmla="*/ 1373 w 91040"/>
                  <a:gd name="connsiteY1" fmla="*/ 44508 h 49360"/>
                  <a:gd name="connsiteX2" fmla="*/ 4852 w 91040"/>
                  <a:gd name="connsiteY2" fmla="*/ 30980 h 49360"/>
                  <a:gd name="connsiteX3" fmla="*/ 78704 w 91040"/>
                  <a:gd name="connsiteY3" fmla="*/ 305 h 49360"/>
                  <a:gd name="connsiteX4" fmla="*/ 90726 w 91040"/>
                  <a:gd name="connsiteY4" fmla="*/ 7409 h 49360"/>
                  <a:gd name="connsiteX5" fmla="*/ 83622 w 91040"/>
                  <a:gd name="connsiteY5" fmla="*/ 19438 h 49360"/>
                  <a:gd name="connsiteX6" fmla="*/ 14900 w 91040"/>
                  <a:gd name="connsiteY6" fmla="*/ 47992 h 49360"/>
                  <a:gd name="connsiteX7" fmla="*/ 9888 w 91040"/>
                  <a:gd name="connsiteY7" fmla="*/ 49361 h 4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040" h="49360">
                    <a:moveTo>
                      <a:pt x="9888" y="49361"/>
                    </a:moveTo>
                    <a:cubicBezTo>
                      <a:pt x="6511" y="49361"/>
                      <a:pt x="3223" y="47623"/>
                      <a:pt x="1373" y="44508"/>
                    </a:cubicBezTo>
                    <a:cubicBezTo>
                      <a:pt x="-1398" y="39813"/>
                      <a:pt x="158" y="33755"/>
                      <a:pt x="4852" y="30980"/>
                    </a:cubicBezTo>
                    <a:cubicBezTo>
                      <a:pt x="28063" y="17266"/>
                      <a:pt x="52905" y="6947"/>
                      <a:pt x="78704" y="305"/>
                    </a:cubicBezTo>
                    <a:cubicBezTo>
                      <a:pt x="83930" y="-1027"/>
                      <a:pt x="89368" y="2126"/>
                      <a:pt x="90726" y="7409"/>
                    </a:cubicBezTo>
                    <a:cubicBezTo>
                      <a:pt x="92086" y="12683"/>
                      <a:pt x="88905" y="18078"/>
                      <a:pt x="83622" y="19438"/>
                    </a:cubicBezTo>
                    <a:cubicBezTo>
                      <a:pt x="59635" y="25608"/>
                      <a:pt x="36513" y="35212"/>
                      <a:pt x="14900" y="47992"/>
                    </a:cubicBezTo>
                    <a:cubicBezTo>
                      <a:pt x="13321" y="48917"/>
                      <a:pt x="11593" y="49361"/>
                      <a:pt x="9888" y="49361"/>
                    </a:cubicBezTo>
                    <a:close/>
                  </a:path>
                </a:pathLst>
              </a:custGeom>
              <a:solidFill>
                <a:srgbClr val="ECEAEC"/>
              </a:solidFill>
              <a:ln w="11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400"/>
              </a:p>
            </p:txBody>
          </p:sp>
        </p:grp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EB5B4736-7911-AB4A-8E01-0A7010906D63}"/>
                </a:ext>
              </a:extLst>
            </p:cNvPr>
            <p:cNvSpPr/>
            <p:nvPr/>
          </p:nvSpPr>
          <p:spPr>
            <a:xfrm>
              <a:off x="3515797" y="2075689"/>
              <a:ext cx="56627" cy="56628"/>
            </a:xfrm>
            <a:custGeom>
              <a:avLst/>
              <a:gdLst>
                <a:gd name="connsiteX0" fmla="*/ 44436 w 56627"/>
                <a:gd name="connsiteY0" fmla="*/ 41816 h 56628"/>
                <a:gd name="connsiteX1" fmla="*/ 14811 w 56627"/>
                <a:gd name="connsiteY1" fmla="*/ 12192 h 56628"/>
                <a:gd name="connsiteX2" fmla="*/ 17437 w 56627"/>
                <a:gd name="connsiteY2" fmla="*/ 0 h 56628"/>
                <a:gd name="connsiteX3" fmla="*/ 0 w 56627"/>
                <a:gd name="connsiteY3" fmla="*/ 27004 h 56628"/>
                <a:gd name="connsiteX4" fmla="*/ 29624 w 56627"/>
                <a:gd name="connsiteY4" fmla="*/ 56628 h 56628"/>
                <a:gd name="connsiteX5" fmla="*/ 56628 w 56627"/>
                <a:gd name="connsiteY5" fmla="*/ 39196 h 56628"/>
                <a:gd name="connsiteX6" fmla="*/ 44436 w 56627"/>
                <a:gd name="connsiteY6" fmla="*/ 41816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27" h="56628">
                  <a:moveTo>
                    <a:pt x="44436" y="41816"/>
                  </a:moveTo>
                  <a:cubicBezTo>
                    <a:pt x="28073" y="41816"/>
                    <a:pt x="14811" y="28555"/>
                    <a:pt x="14811" y="12192"/>
                  </a:cubicBezTo>
                  <a:cubicBezTo>
                    <a:pt x="14811" y="7852"/>
                    <a:pt x="15755" y="3718"/>
                    <a:pt x="17437" y="0"/>
                  </a:cubicBezTo>
                  <a:cubicBezTo>
                    <a:pt x="7146" y="4648"/>
                    <a:pt x="0" y="14985"/>
                    <a:pt x="0" y="27004"/>
                  </a:cubicBezTo>
                  <a:cubicBezTo>
                    <a:pt x="0" y="43367"/>
                    <a:pt x="13260" y="56628"/>
                    <a:pt x="29624" y="56628"/>
                  </a:cubicBezTo>
                  <a:cubicBezTo>
                    <a:pt x="41643" y="56628"/>
                    <a:pt x="51984" y="49481"/>
                    <a:pt x="56628" y="39196"/>
                  </a:cubicBezTo>
                  <a:cubicBezTo>
                    <a:pt x="52915" y="40873"/>
                    <a:pt x="48781" y="41816"/>
                    <a:pt x="44436" y="41816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B35898E7-A20D-2E46-A233-162F5D7C0630}"/>
                </a:ext>
              </a:extLst>
            </p:cNvPr>
            <p:cNvSpPr/>
            <p:nvPr/>
          </p:nvSpPr>
          <p:spPr>
            <a:xfrm>
              <a:off x="3515797" y="2626076"/>
              <a:ext cx="59247" cy="59249"/>
            </a:xfrm>
            <a:custGeom>
              <a:avLst/>
              <a:gdLst>
                <a:gd name="connsiteX0" fmla="*/ 59248 w 59247"/>
                <a:gd name="connsiteY0" fmla="*/ 29625 h 59249"/>
                <a:gd name="connsiteX1" fmla="*/ 29624 w 59247"/>
                <a:gd name="connsiteY1" fmla="*/ 59249 h 59249"/>
                <a:gd name="connsiteX2" fmla="*/ 0 w 59247"/>
                <a:gd name="connsiteY2" fmla="*/ 29625 h 59249"/>
                <a:gd name="connsiteX3" fmla="*/ 29624 w 59247"/>
                <a:gd name="connsiteY3" fmla="*/ 0 h 59249"/>
                <a:gd name="connsiteX4" fmla="*/ 59248 w 59247"/>
                <a:gd name="connsiteY4" fmla="*/ 29625 h 5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7" h="59249">
                  <a:moveTo>
                    <a:pt x="59248" y="29625"/>
                  </a:moveTo>
                  <a:cubicBezTo>
                    <a:pt x="59248" y="45987"/>
                    <a:pt x="45987" y="59249"/>
                    <a:pt x="29624" y="59249"/>
                  </a:cubicBezTo>
                  <a:cubicBezTo>
                    <a:pt x="13260" y="59249"/>
                    <a:pt x="0" y="45987"/>
                    <a:pt x="0" y="29625"/>
                  </a:cubicBezTo>
                  <a:cubicBezTo>
                    <a:pt x="0" y="13262"/>
                    <a:pt x="13260" y="0"/>
                    <a:pt x="29624" y="0"/>
                  </a:cubicBezTo>
                  <a:cubicBezTo>
                    <a:pt x="45987" y="0"/>
                    <a:pt x="59248" y="13262"/>
                    <a:pt x="59248" y="29625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8C1CCEFF-C459-0EC5-4264-BC528B1F98CC}"/>
                </a:ext>
              </a:extLst>
            </p:cNvPr>
            <p:cNvSpPr/>
            <p:nvPr/>
          </p:nvSpPr>
          <p:spPr>
            <a:xfrm>
              <a:off x="3515797" y="2628698"/>
              <a:ext cx="56627" cy="56627"/>
            </a:xfrm>
            <a:custGeom>
              <a:avLst/>
              <a:gdLst>
                <a:gd name="connsiteX0" fmla="*/ 44436 w 56627"/>
                <a:gd name="connsiteY0" fmla="*/ 41815 h 56627"/>
                <a:gd name="connsiteX1" fmla="*/ 14811 w 56627"/>
                <a:gd name="connsiteY1" fmla="*/ 12191 h 56627"/>
                <a:gd name="connsiteX2" fmla="*/ 17437 w 56627"/>
                <a:gd name="connsiteY2" fmla="*/ 0 h 56627"/>
                <a:gd name="connsiteX3" fmla="*/ 0 w 56627"/>
                <a:gd name="connsiteY3" fmla="*/ 27004 h 56627"/>
                <a:gd name="connsiteX4" fmla="*/ 29624 w 56627"/>
                <a:gd name="connsiteY4" fmla="*/ 56628 h 56627"/>
                <a:gd name="connsiteX5" fmla="*/ 56628 w 56627"/>
                <a:gd name="connsiteY5" fmla="*/ 39195 h 56627"/>
                <a:gd name="connsiteX6" fmla="*/ 44436 w 56627"/>
                <a:gd name="connsiteY6" fmla="*/ 41815 h 5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27" h="56627">
                  <a:moveTo>
                    <a:pt x="44436" y="41815"/>
                  </a:moveTo>
                  <a:cubicBezTo>
                    <a:pt x="28073" y="41815"/>
                    <a:pt x="14811" y="28550"/>
                    <a:pt x="14811" y="12191"/>
                  </a:cubicBezTo>
                  <a:cubicBezTo>
                    <a:pt x="14811" y="7847"/>
                    <a:pt x="15755" y="3718"/>
                    <a:pt x="17437" y="0"/>
                  </a:cubicBezTo>
                  <a:cubicBezTo>
                    <a:pt x="7146" y="4647"/>
                    <a:pt x="0" y="14985"/>
                    <a:pt x="0" y="27004"/>
                  </a:cubicBezTo>
                  <a:cubicBezTo>
                    <a:pt x="0" y="43361"/>
                    <a:pt x="13260" y="56628"/>
                    <a:pt x="29624" y="56628"/>
                  </a:cubicBezTo>
                  <a:cubicBezTo>
                    <a:pt x="41643" y="56628"/>
                    <a:pt x="51984" y="49480"/>
                    <a:pt x="56628" y="39195"/>
                  </a:cubicBezTo>
                  <a:cubicBezTo>
                    <a:pt x="52915" y="40872"/>
                    <a:pt x="48781" y="41815"/>
                    <a:pt x="44436" y="41815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069B8DAC-866F-B149-241E-021A2265E2C7}"/>
                </a:ext>
              </a:extLst>
            </p:cNvPr>
            <p:cNvSpPr/>
            <p:nvPr/>
          </p:nvSpPr>
          <p:spPr>
            <a:xfrm>
              <a:off x="3239293" y="2349573"/>
              <a:ext cx="59248" cy="59247"/>
            </a:xfrm>
            <a:custGeom>
              <a:avLst/>
              <a:gdLst>
                <a:gd name="connsiteX0" fmla="*/ 59249 w 59248"/>
                <a:gd name="connsiteY0" fmla="*/ 29624 h 59247"/>
                <a:gd name="connsiteX1" fmla="*/ 29624 w 59248"/>
                <a:gd name="connsiteY1" fmla="*/ 59248 h 59247"/>
                <a:gd name="connsiteX2" fmla="*/ 0 w 59248"/>
                <a:gd name="connsiteY2" fmla="*/ 29624 h 59247"/>
                <a:gd name="connsiteX3" fmla="*/ 29624 w 59248"/>
                <a:gd name="connsiteY3" fmla="*/ 0 h 59247"/>
                <a:gd name="connsiteX4" fmla="*/ 59249 w 59248"/>
                <a:gd name="connsiteY4" fmla="*/ 29624 h 5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8" h="59247">
                  <a:moveTo>
                    <a:pt x="59249" y="29624"/>
                  </a:moveTo>
                  <a:cubicBezTo>
                    <a:pt x="59249" y="45987"/>
                    <a:pt x="45987" y="59248"/>
                    <a:pt x="29624" y="59248"/>
                  </a:cubicBezTo>
                  <a:cubicBezTo>
                    <a:pt x="13261" y="59248"/>
                    <a:pt x="0" y="45987"/>
                    <a:pt x="0" y="29624"/>
                  </a:cubicBezTo>
                  <a:cubicBezTo>
                    <a:pt x="0" y="13260"/>
                    <a:pt x="13261" y="0"/>
                    <a:pt x="29624" y="0"/>
                  </a:cubicBezTo>
                  <a:cubicBezTo>
                    <a:pt x="45987" y="0"/>
                    <a:pt x="59249" y="13260"/>
                    <a:pt x="59249" y="29624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79" name="Forme libre : forme 278">
              <a:extLst>
                <a:ext uri="{FF2B5EF4-FFF2-40B4-BE49-F238E27FC236}">
                  <a16:creationId xmlns:a16="http://schemas.microsoft.com/office/drawing/2014/main" id="{CE9B393D-024C-C8C7-F297-C36AC96B2126}"/>
                </a:ext>
              </a:extLst>
            </p:cNvPr>
            <p:cNvSpPr/>
            <p:nvPr/>
          </p:nvSpPr>
          <p:spPr>
            <a:xfrm>
              <a:off x="3239293" y="2352193"/>
              <a:ext cx="56633" cy="56627"/>
            </a:xfrm>
            <a:custGeom>
              <a:avLst/>
              <a:gdLst>
                <a:gd name="connsiteX0" fmla="*/ 44437 w 56633"/>
                <a:gd name="connsiteY0" fmla="*/ 41816 h 56627"/>
                <a:gd name="connsiteX1" fmla="*/ 14812 w 56633"/>
                <a:gd name="connsiteY1" fmla="*/ 12191 h 56627"/>
                <a:gd name="connsiteX2" fmla="*/ 17433 w 56633"/>
                <a:gd name="connsiteY2" fmla="*/ 0 h 56627"/>
                <a:gd name="connsiteX3" fmla="*/ 0 w 56633"/>
                <a:gd name="connsiteY3" fmla="*/ 27004 h 56627"/>
                <a:gd name="connsiteX4" fmla="*/ 29624 w 56633"/>
                <a:gd name="connsiteY4" fmla="*/ 56628 h 56627"/>
                <a:gd name="connsiteX5" fmla="*/ 56633 w 56633"/>
                <a:gd name="connsiteY5" fmla="*/ 39200 h 56627"/>
                <a:gd name="connsiteX6" fmla="*/ 44437 w 56633"/>
                <a:gd name="connsiteY6" fmla="*/ 41816 h 5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33" h="56627">
                  <a:moveTo>
                    <a:pt x="44437" y="41816"/>
                  </a:moveTo>
                  <a:cubicBezTo>
                    <a:pt x="28078" y="41816"/>
                    <a:pt x="14812" y="28555"/>
                    <a:pt x="14812" y="12191"/>
                  </a:cubicBezTo>
                  <a:cubicBezTo>
                    <a:pt x="14812" y="7847"/>
                    <a:pt x="15756" y="3713"/>
                    <a:pt x="17433" y="0"/>
                  </a:cubicBezTo>
                  <a:cubicBezTo>
                    <a:pt x="7147" y="4643"/>
                    <a:pt x="0" y="14985"/>
                    <a:pt x="0" y="27004"/>
                  </a:cubicBezTo>
                  <a:cubicBezTo>
                    <a:pt x="0" y="43367"/>
                    <a:pt x="13266" y="56628"/>
                    <a:pt x="29624" y="56628"/>
                  </a:cubicBezTo>
                  <a:cubicBezTo>
                    <a:pt x="41643" y="56628"/>
                    <a:pt x="51990" y="49486"/>
                    <a:pt x="56633" y="39200"/>
                  </a:cubicBezTo>
                  <a:cubicBezTo>
                    <a:pt x="52919" y="40878"/>
                    <a:pt x="48781" y="41816"/>
                    <a:pt x="44437" y="41816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0" name="Forme libre : forme 279">
              <a:extLst>
                <a:ext uri="{FF2B5EF4-FFF2-40B4-BE49-F238E27FC236}">
                  <a16:creationId xmlns:a16="http://schemas.microsoft.com/office/drawing/2014/main" id="{67D64BEC-68FB-66EB-DD85-E1AB51B2E82D}"/>
                </a:ext>
              </a:extLst>
            </p:cNvPr>
            <p:cNvSpPr/>
            <p:nvPr/>
          </p:nvSpPr>
          <p:spPr>
            <a:xfrm>
              <a:off x="3792300" y="2349573"/>
              <a:ext cx="59249" cy="59247"/>
            </a:xfrm>
            <a:custGeom>
              <a:avLst/>
              <a:gdLst>
                <a:gd name="connsiteX0" fmla="*/ 59249 w 59249"/>
                <a:gd name="connsiteY0" fmla="*/ 29624 h 59247"/>
                <a:gd name="connsiteX1" fmla="*/ 29625 w 59249"/>
                <a:gd name="connsiteY1" fmla="*/ 59248 h 59247"/>
                <a:gd name="connsiteX2" fmla="*/ 0 w 59249"/>
                <a:gd name="connsiteY2" fmla="*/ 29624 h 59247"/>
                <a:gd name="connsiteX3" fmla="*/ 29625 w 59249"/>
                <a:gd name="connsiteY3" fmla="*/ 0 h 59247"/>
                <a:gd name="connsiteX4" fmla="*/ 59249 w 59249"/>
                <a:gd name="connsiteY4" fmla="*/ 29624 h 5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9" h="59247">
                  <a:moveTo>
                    <a:pt x="59249" y="29624"/>
                  </a:moveTo>
                  <a:cubicBezTo>
                    <a:pt x="59249" y="45987"/>
                    <a:pt x="45987" y="59248"/>
                    <a:pt x="29625" y="59248"/>
                  </a:cubicBezTo>
                  <a:cubicBezTo>
                    <a:pt x="13262" y="59248"/>
                    <a:pt x="0" y="45987"/>
                    <a:pt x="0" y="29624"/>
                  </a:cubicBezTo>
                  <a:cubicBezTo>
                    <a:pt x="0" y="13260"/>
                    <a:pt x="13262" y="0"/>
                    <a:pt x="29625" y="0"/>
                  </a:cubicBezTo>
                  <a:cubicBezTo>
                    <a:pt x="45987" y="0"/>
                    <a:pt x="59249" y="13260"/>
                    <a:pt x="59249" y="29624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3069882E-81DA-AE4B-E8EA-3C2A68792FE9}"/>
                </a:ext>
              </a:extLst>
            </p:cNvPr>
            <p:cNvSpPr/>
            <p:nvPr/>
          </p:nvSpPr>
          <p:spPr>
            <a:xfrm>
              <a:off x="3792300" y="2352193"/>
              <a:ext cx="56628" cy="56627"/>
            </a:xfrm>
            <a:custGeom>
              <a:avLst/>
              <a:gdLst>
                <a:gd name="connsiteX0" fmla="*/ 44436 w 56628"/>
                <a:gd name="connsiteY0" fmla="*/ 41816 h 56627"/>
                <a:gd name="connsiteX1" fmla="*/ 14813 w 56628"/>
                <a:gd name="connsiteY1" fmla="*/ 12191 h 56627"/>
                <a:gd name="connsiteX2" fmla="*/ 17433 w 56628"/>
                <a:gd name="connsiteY2" fmla="*/ 0 h 56627"/>
                <a:gd name="connsiteX3" fmla="*/ 0 w 56628"/>
                <a:gd name="connsiteY3" fmla="*/ 27004 h 56627"/>
                <a:gd name="connsiteX4" fmla="*/ 29625 w 56628"/>
                <a:gd name="connsiteY4" fmla="*/ 56628 h 56627"/>
                <a:gd name="connsiteX5" fmla="*/ 56629 w 56628"/>
                <a:gd name="connsiteY5" fmla="*/ 39195 h 56627"/>
                <a:gd name="connsiteX6" fmla="*/ 44436 w 56628"/>
                <a:gd name="connsiteY6" fmla="*/ 41816 h 5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28" h="56627">
                  <a:moveTo>
                    <a:pt x="44436" y="41816"/>
                  </a:moveTo>
                  <a:cubicBezTo>
                    <a:pt x="28074" y="41816"/>
                    <a:pt x="14813" y="28555"/>
                    <a:pt x="14813" y="12191"/>
                  </a:cubicBezTo>
                  <a:cubicBezTo>
                    <a:pt x="14813" y="7847"/>
                    <a:pt x="15756" y="3713"/>
                    <a:pt x="17433" y="0"/>
                  </a:cubicBezTo>
                  <a:cubicBezTo>
                    <a:pt x="7147" y="4643"/>
                    <a:pt x="0" y="14985"/>
                    <a:pt x="0" y="27004"/>
                  </a:cubicBezTo>
                  <a:cubicBezTo>
                    <a:pt x="0" y="43367"/>
                    <a:pt x="13262" y="56628"/>
                    <a:pt x="29625" y="56628"/>
                  </a:cubicBezTo>
                  <a:cubicBezTo>
                    <a:pt x="41643" y="56628"/>
                    <a:pt x="51986" y="49482"/>
                    <a:pt x="56629" y="39195"/>
                  </a:cubicBezTo>
                  <a:cubicBezTo>
                    <a:pt x="52910" y="40873"/>
                    <a:pt x="48776" y="41816"/>
                    <a:pt x="44436" y="41816"/>
                  </a:cubicBezTo>
                  <a:close/>
                </a:path>
              </a:pathLst>
            </a:custGeom>
            <a:solidFill>
              <a:srgbClr val="582974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DC78A12B-70B2-9F3C-196E-E3507A72223E}"/>
                </a:ext>
              </a:extLst>
            </p:cNvPr>
            <p:cNvSpPr/>
            <p:nvPr/>
          </p:nvSpPr>
          <p:spPr>
            <a:xfrm>
              <a:off x="3711313" y="2154057"/>
              <a:ext cx="59247" cy="59248"/>
            </a:xfrm>
            <a:custGeom>
              <a:avLst/>
              <a:gdLst>
                <a:gd name="connsiteX0" fmla="*/ 59248 w 59247"/>
                <a:gd name="connsiteY0" fmla="*/ 29624 h 59248"/>
                <a:gd name="connsiteX1" fmla="*/ 29624 w 59247"/>
                <a:gd name="connsiteY1" fmla="*/ 59248 h 59248"/>
                <a:gd name="connsiteX2" fmla="*/ 0 w 59247"/>
                <a:gd name="connsiteY2" fmla="*/ 29624 h 59248"/>
                <a:gd name="connsiteX3" fmla="*/ 29624 w 59247"/>
                <a:gd name="connsiteY3" fmla="*/ 0 h 59248"/>
                <a:gd name="connsiteX4" fmla="*/ 59248 w 59247"/>
                <a:gd name="connsiteY4" fmla="*/ 29624 h 5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7" h="59248">
                  <a:moveTo>
                    <a:pt x="59248" y="29624"/>
                  </a:moveTo>
                  <a:cubicBezTo>
                    <a:pt x="59248" y="45983"/>
                    <a:pt x="45987" y="59248"/>
                    <a:pt x="29624" y="59248"/>
                  </a:cubicBezTo>
                  <a:cubicBezTo>
                    <a:pt x="13265" y="59248"/>
                    <a:pt x="0" y="45983"/>
                    <a:pt x="0" y="29624"/>
                  </a:cubicBezTo>
                  <a:cubicBezTo>
                    <a:pt x="0" y="13261"/>
                    <a:pt x="13265" y="0"/>
                    <a:pt x="29624" y="0"/>
                  </a:cubicBezTo>
                  <a:cubicBezTo>
                    <a:pt x="45987" y="0"/>
                    <a:pt x="59248" y="13261"/>
                    <a:pt x="59248" y="29624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EB491190-F685-3E12-365E-078765F7E592}"/>
                </a:ext>
              </a:extLst>
            </p:cNvPr>
            <p:cNvSpPr/>
            <p:nvPr/>
          </p:nvSpPr>
          <p:spPr>
            <a:xfrm>
              <a:off x="3711313" y="2156673"/>
              <a:ext cx="56632" cy="56632"/>
            </a:xfrm>
            <a:custGeom>
              <a:avLst/>
              <a:gdLst>
                <a:gd name="connsiteX0" fmla="*/ 44436 w 56632"/>
                <a:gd name="connsiteY0" fmla="*/ 41821 h 56632"/>
                <a:gd name="connsiteX1" fmla="*/ 14811 w 56632"/>
                <a:gd name="connsiteY1" fmla="*/ 12196 h 56632"/>
                <a:gd name="connsiteX2" fmla="*/ 17433 w 56632"/>
                <a:gd name="connsiteY2" fmla="*/ 0 h 56632"/>
                <a:gd name="connsiteX3" fmla="*/ 0 w 56632"/>
                <a:gd name="connsiteY3" fmla="*/ 27009 h 56632"/>
                <a:gd name="connsiteX4" fmla="*/ 29624 w 56632"/>
                <a:gd name="connsiteY4" fmla="*/ 56632 h 56632"/>
                <a:gd name="connsiteX5" fmla="*/ 56633 w 56632"/>
                <a:gd name="connsiteY5" fmla="*/ 39200 h 56632"/>
                <a:gd name="connsiteX6" fmla="*/ 44436 w 56632"/>
                <a:gd name="connsiteY6" fmla="*/ 41821 h 5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32" h="56632">
                  <a:moveTo>
                    <a:pt x="44436" y="41821"/>
                  </a:moveTo>
                  <a:cubicBezTo>
                    <a:pt x="28078" y="41821"/>
                    <a:pt x="14811" y="28555"/>
                    <a:pt x="14811" y="12196"/>
                  </a:cubicBezTo>
                  <a:cubicBezTo>
                    <a:pt x="14811" y="7852"/>
                    <a:pt x="15750" y="3713"/>
                    <a:pt x="17433" y="0"/>
                  </a:cubicBezTo>
                  <a:cubicBezTo>
                    <a:pt x="7141" y="4648"/>
                    <a:pt x="0" y="14985"/>
                    <a:pt x="0" y="27009"/>
                  </a:cubicBezTo>
                  <a:cubicBezTo>
                    <a:pt x="0" y="43367"/>
                    <a:pt x="13260" y="56632"/>
                    <a:pt x="29624" y="56632"/>
                  </a:cubicBezTo>
                  <a:cubicBezTo>
                    <a:pt x="41643" y="56632"/>
                    <a:pt x="51984" y="49486"/>
                    <a:pt x="56633" y="39200"/>
                  </a:cubicBezTo>
                  <a:cubicBezTo>
                    <a:pt x="52915" y="40878"/>
                    <a:pt x="48781" y="41821"/>
                    <a:pt x="44436" y="41821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7693C20E-EB10-CB83-F269-FF47E2290B7A}"/>
                </a:ext>
              </a:extLst>
            </p:cNvPr>
            <p:cNvSpPr/>
            <p:nvPr/>
          </p:nvSpPr>
          <p:spPr>
            <a:xfrm>
              <a:off x="3320281" y="2545089"/>
              <a:ext cx="59248" cy="59247"/>
            </a:xfrm>
            <a:custGeom>
              <a:avLst/>
              <a:gdLst>
                <a:gd name="connsiteX0" fmla="*/ 59248 w 59248"/>
                <a:gd name="connsiteY0" fmla="*/ 29624 h 59247"/>
                <a:gd name="connsiteX1" fmla="*/ 29624 w 59248"/>
                <a:gd name="connsiteY1" fmla="*/ 59248 h 59247"/>
                <a:gd name="connsiteX2" fmla="*/ 0 w 59248"/>
                <a:gd name="connsiteY2" fmla="*/ 29624 h 59247"/>
                <a:gd name="connsiteX3" fmla="*/ 29624 w 59248"/>
                <a:gd name="connsiteY3" fmla="*/ 0 h 59247"/>
                <a:gd name="connsiteX4" fmla="*/ 59248 w 59248"/>
                <a:gd name="connsiteY4" fmla="*/ 29624 h 5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8" h="59247">
                  <a:moveTo>
                    <a:pt x="59248" y="29624"/>
                  </a:moveTo>
                  <a:cubicBezTo>
                    <a:pt x="59248" y="45987"/>
                    <a:pt x="45983" y="59248"/>
                    <a:pt x="29624" y="59248"/>
                  </a:cubicBezTo>
                  <a:cubicBezTo>
                    <a:pt x="13261" y="59248"/>
                    <a:pt x="0" y="45987"/>
                    <a:pt x="0" y="29624"/>
                  </a:cubicBezTo>
                  <a:cubicBezTo>
                    <a:pt x="0" y="13265"/>
                    <a:pt x="13261" y="0"/>
                    <a:pt x="29624" y="0"/>
                  </a:cubicBezTo>
                  <a:cubicBezTo>
                    <a:pt x="45983" y="0"/>
                    <a:pt x="59248" y="13265"/>
                    <a:pt x="59248" y="29624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5" name="Forme libre : forme 284">
              <a:extLst>
                <a:ext uri="{FF2B5EF4-FFF2-40B4-BE49-F238E27FC236}">
                  <a16:creationId xmlns:a16="http://schemas.microsoft.com/office/drawing/2014/main" id="{17C93735-0151-D4CF-DA4C-58861CD2B8CA}"/>
                </a:ext>
              </a:extLst>
            </p:cNvPr>
            <p:cNvSpPr/>
            <p:nvPr/>
          </p:nvSpPr>
          <p:spPr>
            <a:xfrm>
              <a:off x="3320276" y="2547709"/>
              <a:ext cx="56628" cy="56627"/>
            </a:xfrm>
            <a:custGeom>
              <a:avLst/>
              <a:gdLst>
                <a:gd name="connsiteX0" fmla="*/ 44442 w 56628"/>
                <a:gd name="connsiteY0" fmla="*/ 41816 h 56627"/>
                <a:gd name="connsiteX1" fmla="*/ 14817 w 56628"/>
                <a:gd name="connsiteY1" fmla="*/ 12191 h 56627"/>
                <a:gd name="connsiteX2" fmla="*/ 17437 w 56628"/>
                <a:gd name="connsiteY2" fmla="*/ 0 h 56627"/>
                <a:gd name="connsiteX3" fmla="*/ 0 w 56628"/>
                <a:gd name="connsiteY3" fmla="*/ 27004 h 56627"/>
                <a:gd name="connsiteX4" fmla="*/ 29624 w 56628"/>
                <a:gd name="connsiteY4" fmla="*/ 56628 h 56627"/>
                <a:gd name="connsiteX5" fmla="*/ 56628 w 56628"/>
                <a:gd name="connsiteY5" fmla="*/ 39195 h 56627"/>
                <a:gd name="connsiteX6" fmla="*/ 44442 w 56628"/>
                <a:gd name="connsiteY6" fmla="*/ 41816 h 5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28" h="56627">
                  <a:moveTo>
                    <a:pt x="44442" y="41816"/>
                  </a:moveTo>
                  <a:cubicBezTo>
                    <a:pt x="28078" y="41816"/>
                    <a:pt x="14817" y="28555"/>
                    <a:pt x="14817" y="12191"/>
                  </a:cubicBezTo>
                  <a:cubicBezTo>
                    <a:pt x="14817" y="7852"/>
                    <a:pt x="15760" y="3718"/>
                    <a:pt x="17437" y="0"/>
                  </a:cubicBezTo>
                  <a:cubicBezTo>
                    <a:pt x="7151" y="4648"/>
                    <a:pt x="0" y="14985"/>
                    <a:pt x="0" y="27004"/>
                  </a:cubicBezTo>
                  <a:cubicBezTo>
                    <a:pt x="0" y="43367"/>
                    <a:pt x="13266" y="56628"/>
                    <a:pt x="29624" y="56628"/>
                  </a:cubicBezTo>
                  <a:cubicBezTo>
                    <a:pt x="41648" y="56628"/>
                    <a:pt x="51985" y="49482"/>
                    <a:pt x="56628" y="39195"/>
                  </a:cubicBezTo>
                  <a:cubicBezTo>
                    <a:pt x="52915" y="40873"/>
                    <a:pt x="48781" y="41816"/>
                    <a:pt x="44442" y="41816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6" name="Forme libre : forme 285">
              <a:extLst>
                <a:ext uri="{FF2B5EF4-FFF2-40B4-BE49-F238E27FC236}">
                  <a16:creationId xmlns:a16="http://schemas.microsoft.com/office/drawing/2014/main" id="{D2E9ECE0-F176-5896-D266-6FE99C5BEC7B}"/>
                </a:ext>
              </a:extLst>
            </p:cNvPr>
            <p:cNvSpPr/>
            <p:nvPr/>
          </p:nvSpPr>
          <p:spPr>
            <a:xfrm>
              <a:off x="3320281" y="2154057"/>
              <a:ext cx="59248" cy="59248"/>
            </a:xfrm>
            <a:custGeom>
              <a:avLst/>
              <a:gdLst>
                <a:gd name="connsiteX0" fmla="*/ 59248 w 59248"/>
                <a:gd name="connsiteY0" fmla="*/ 29624 h 59248"/>
                <a:gd name="connsiteX1" fmla="*/ 29624 w 59248"/>
                <a:gd name="connsiteY1" fmla="*/ 59248 h 59248"/>
                <a:gd name="connsiteX2" fmla="*/ 0 w 59248"/>
                <a:gd name="connsiteY2" fmla="*/ 29624 h 59248"/>
                <a:gd name="connsiteX3" fmla="*/ 29624 w 59248"/>
                <a:gd name="connsiteY3" fmla="*/ 0 h 59248"/>
                <a:gd name="connsiteX4" fmla="*/ 59248 w 59248"/>
                <a:gd name="connsiteY4" fmla="*/ 29624 h 5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8" h="59248">
                  <a:moveTo>
                    <a:pt x="59248" y="29624"/>
                  </a:moveTo>
                  <a:cubicBezTo>
                    <a:pt x="59248" y="45983"/>
                    <a:pt x="45983" y="59248"/>
                    <a:pt x="29624" y="59248"/>
                  </a:cubicBezTo>
                  <a:cubicBezTo>
                    <a:pt x="13261" y="59248"/>
                    <a:pt x="0" y="45983"/>
                    <a:pt x="0" y="29624"/>
                  </a:cubicBezTo>
                  <a:cubicBezTo>
                    <a:pt x="0" y="13261"/>
                    <a:pt x="13261" y="0"/>
                    <a:pt x="29624" y="0"/>
                  </a:cubicBezTo>
                  <a:cubicBezTo>
                    <a:pt x="45983" y="0"/>
                    <a:pt x="59248" y="13261"/>
                    <a:pt x="59248" y="29624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AAA7A428-462F-E90B-ACA3-596FC8483D21}"/>
                </a:ext>
              </a:extLst>
            </p:cNvPr>
            <p:cNvSpPr/>
            <p:nvPr/>
          </p:nvSpPr>
          <p:spPr>
            <a:xfrm>
              <a:off x="3320281" y="2156673"/>
              <a:ext cx="56642" cy="56632"/>
            </a:xfrm>
            <a:custGeom>
              <a:avLst/>
              <a:gdLst>
                <a:gd name="connsiteX0" fmla="*/ 44437 w 56642"/>
                <a:gd name="connsiteY0" fmla="*/ 41821 h 56632"/>
                <a:gd name="connsiteX1" fmla="*/ 14812 w 56642"/>
                <a:gd name="connsiteY1" fmla="*/ 12196 h 56632"/>
                <a:gd name="connsiteX2" fmla="*/ 17428 w 56642"/>
                <a:gd name="connsiteY2" fmla="*/ 0 h 56632"/>
                <a:gd name="connsiteX3" fmla="*/ 0 w 56642"/>
                <a:gd name="connsiteY3" fmla="*/ 27009 h 56632"/>
                <a:gd name="connsiteX4" fmla="*/ 29624 w 56642"/>
                <a:gd name="connsiteY4" fmla="*/ 56632 h 56632"/>
                <a:gd name="connsiteX5" fmla="*/ 56643 w 56642"/>
                <a:gd name="connsiteY5" fmla="*/ 39158 h 56632"/>
                <a:gd name="connsiteX6" fmla="*/ 44437 w 56642"/>
                <a:gd name="connsiteY6" fmla="*/ 41821 h 5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42" h="56632">
                  <a:moveTo>
                    <a:pt x="44437" y="41821"/>
                  </a:moveTo>
                  <a:cubicBezTo>
                    <a:pt x="28074" y="41821"/>
                    <a:pt x="14812" y="28555"/>
                    <a:pt x="14812" y="12196"/>
                  </a:cubicBezTo>
                  <a:cubicBezTo>
                    <a:pt x="14812" y="7852"/>
                    <a:pt x="15751" y="3718"/>
                    <a:pt x="17428" y="0"/>
                  </a:cubicBezTo>
                  <a:cubicBezTo>
                    <a:pt x="7142" y="4648"/>
                    <a:pt x="0" y="14985"/>
                    <a:pt x="0" y="27009"/>
                  </a:cubicBezTo>
                  <a:cubicBezTo>
                    <a:pt x="0" y="43367"/>
                    <a:pt x="13261" y="56632"/>
                    <a:pt x="29624" y="56632"/>
                  </a:cubicBezTo>
                  <a:cubicBezTo>
                    <a:pt x="41644" y="56632"/>
                    <a:pt x="51999" y="49444"/>
                    <a:pt x="56643" y="39158"/>
                  </a:cubicBezTo>
                  <a:cubicBezTo>
                    <a:pt x="52928" y="40836"/>
                    <a:pt x="48777" y="41821"/>
                    <a:pt x="44437" y="41821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8" name="Forme libre : forme 287">
              <a:extLst>
                <a:ext uri="{FF2B5EF4-FFF2-40B4-BE49-F238E27FC236}">
                  <a16:creationId xmlns:a16="http://schemas.microsoft.com/office/drawing/2014/main" id="{D71FAE6C-4DD8-CA21-3AEF-7986C759B8DA}"/>
                </a:ext>
              </a:extLst>
            </p:cNvPr>
            <p:cNvSpPr/>
            <p:nvPr/>
          </p:nvSpPr>
          <p:spPr>
            <a:xfrm>
              <a:off x="3711313" y="2545089"/>
              <a:ext cx="59247" cy="59247"/>
            </a:xfrm>
            <a:custGeom>
              <a:avLst/>
              <a:gdLst>
                <a:gd name="connsiteX0" fmla="*/ 59248 w 59247"/>
                <a:gd name="connsiteY0" fmla="*/ 29624 h 59247"/>
                <a:gd name="connsiteX1" fmla="*/ 29624 w 59247"/>
                <a:gd name="connsiteY1" fmla="*/ 59248 h 59247"/>
                <a:gd name="connsiteX2" fmla="*/ 0 w 59247"/>
                <a:gd name="connsiteY2" fmla="*/ 29624 h 59247"/>
                <a:gd name="connsiteX3" fmla="*/ 29624 w 59247"/>
                <a:gd name="connsiteY3" fmla="*/ 0 h 59247"/>
                <a:gd name="connsiteX4" fmla="*/ 59248 w 59247"/>
                <a:gd name="connsiteY4" fmla="*/ 29624 h 5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47" h="59247">
                  <a:moveTo>
                    <a:pt x="59248" y="29624"/>
                  </a:moveTo>
                  <a:cubicBezTo>
                    <a:pt x="59248" y="45987"/>
                    <a:pt x="45987" y="59248"/>
                    <a:pt x="29624" y="59248"/>
                  </a:cubicBezTo>
                  <a:cubicBezTo>
                    <a:pt x="13265" y="59248"/>
                    <a:pt x="0" y="45987"/>
                    <a:pt x="0" y="29624"/>
                  </a:cubicBezTo>
                  <a:cubicBezTo>
                    <a:pt x="0" y="13265"/>
                    <a:pt x="13265" y="0"/>
                    <a:pt x="29624" y="0"/>
                  </a:cubicBezTo>
                  <a:cubicBezTo>
                    <a:pt x="45987" y="0"/>
                    <a:pt x="59248" y="13265"/>
                    <a:pt x="59248" y="29624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9" name="Forme libre : forme 288">
              <a:extLst>
                <a:ext uri="{FF2B5EF4-FFF2-40B4-BE49-F238E27FC236}">
                  <a16:creationId xmlns:a16="http://schemas.microsoft.com/office/drawing/2014/main" id="{97B28230-0574-E9ED-EE7F-467D7D3316A9}"/>
                </a:ext>
              </a:extLst>
            </p:cNvPr>
            <p:cNvSpPr/>
            <p:nvPr/>
          </p:nvSpPr>
          <p:spPr>
            <a:xfrm>
              <a:off x="3711313" y="2547709"/>
              <a:ext cx="56627" cy="56632"/>
            </a:xfrm>
            <a:custGeom>
              <a:avLst/>
              <a:gdLst>
                <a:gd name="connsiteX0" fmla="*/ 44436 w 56627"/>
                <a:gd name="connsiteY0" fmla="*/ 41816 h 56632"/>
                <a:gd name="connsiteX1" fmla="*/ 14811 w 56627"/>
                <a:gd name="connsiteY1" fmla="*/ 12191 h 56632"/>
                <a:gd name="connsiteX2" fmla="*/ 17433 w 56627"/>
                <a:gd name="connsiteY2" fmla="*/ 0 h 56632"/>
                <a:gd name="connsiteX3" fmla="*/ 0 w 56627"/>
                <a:gd name="connsiteY3" fmla="*/ 27009 h 56632"/>
                <a:gd name="connsiteX4" fmla="*/ 29624 w 56627"/>
                <a:gd name="connsiteY4" fmla="*/ 56633 h 56632"/>
                <a:gd name="connsiteX5" fmla="*/ 56628 w 56627"/>
                <a:gd name="connsiteY5" fmla="*/ 39195 h 56632"/>
                <a:gd name="connsiteX6" fmla="*/ 44436 w 56627"/>
                <a:gd name="connsiteY6" fmla="*/ 41816 h 5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27" h="56632">
                  <a:moveTo>
                    <a:pt x="44436" y="41816"/>
                  </a:moveTo>
                  <a:cubicBezTo>
                    <a:pt x="28078" y="41816"/>
                    <a:pt x="14811" y="28555"/>
                    <a:pt x="14811" y="12191"/>
                  </a:cubicBezTo>
                  <a:cubicBezTo>
                    <a:pt x="14811" y="7852"/>
                    <a:pt x="15750" y="3713"/>
                    <a:pt x="17433" y="0"/>
                  </a:cubicBezTo>
                  <a:cubicBezTo>
                    <a:pt x="7146" y="4643"/>
                    <a:pt x="0" y="14985"/>
                    <a:pt x="0" y="27009"/>
                  </a:cubicBezTo>
                  <a:cubicBezTo>
                    <a:pt x="0" y="43367"/>
                    <a:pt x="13265" y="56633"/>
                    <a:pt x="29624" y="56633"/>
                  </a:cubicBezTo>
                  <a:cubicBezTo>
                    <a:pt x="41648" y="56633"/>
                    <a:pt x="51984" y="49486"/>
                    <a:pt x="56628" y="39195"/>
                  </a:cubicBezTo>
                  <a:cubicBezTo>
                    <a:pt x="52915" y="40878"/>
                    <a:pt x="48781" y="41816"/>
                    <a:pt x="44436" y="41816"/>
                  </a:cubicBezTo>
                  <a:close/>
                </a:path>
              </a:pathLst>
            </a:custGeom>
            <a:solidFill>
              <a:srgbClr val="FF7645"/>
            </a:solidFill>
            <a:ln w="1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grpSp>
        <p:nvGrpSpPr>
          <p:cNvPr id="298" name="Graphique 22">
            <a:extLst>
              <a:ext uri="{FF2B5EF4-FFF2-40B4-BE49-F238E27FC236}">
                <a16:creationId xmlns:a16="http://schemas.microsoft.com/office/drawing/2014/main" id="{9F90D331-688B-0625-FEE2-896F02EAC431}"/>
              </a:ext>
            </a:extLst>
          </p:cNvPr>
          <p:cNvGrpSpPr/>
          <p:nvPr/>
        </p:nvGrpSpPr>
        <p:grpSpPr>
          <a:xfrm>
            <a:off x="5358563" y="2693617"/>
            <a:ext cx="455085" cy="415703"/>
            <a:chOff x="3657600" y="990600"/>
            <a:chExt cx="4876800" cy="4876800"/>
          </a:xfrm>
        </p:grpSpPr>
        <p:sp>
          <p:nvSpPr>
            <p:cNvPr id="299" name="Forme libre : forme 298">
              <a:extLst>
                <a:ext uri="{FF2B5EF4-FFF2-40B4-BE49-F238E27FC236}">
                  <a16:creationId xmlns:a16="http://schemas.microsoft.com/office/drawing/2014/main" id="{29E67CCC-0CAB-B1FB-0E58-BE359B8D0373}"/>
                </a:ext>
              </a:extLst>
            </p:cNvPr>
            <p:cNvSpPr/>
            <p:nvPr/>
          </p:nvSpPr>
          <p:spPr>
            <a:xfrm>
              <a:off x="3657600" y="1541192"/>
              <a:ext cx="4876790" cy="3932901"/>
            </a:xfrm>
            <a:custGeom>
              <a:avLst/>
              <a:gdLst>
                <a:gd name="connsiteX0" fmla="*/ 4562170 w 4876790"/>
                <a:gd name="connsiteY0" fmla="*/ 0 h 3932901"/>
                <a:gd name="connsiteX1" fmla="*/ 314630 w 4876790"/>
                <a:gd name="connsiteY1" fmla="*/ 0 h 3932901"/>
                <a:gd name="connsiteX2" fmla="*/ 0 w 4876790"/>
                <a:gd name="connsiteY2" fmla="*/ 314639 h 3932901"/>
                <a:gd name="connsiteX3" fmla="*/ 0 w 4876790"/>
                <a:gd name="connsiteY3" fmla="*/ 3146327 h 3932901"/>
                <a:gd name="connsiteX4" fmla="*/ 314630 w 4876790"/>
                <a:gd name="connsiteY4" fmla="*/ 3460957 h 3932901"/>
                <a:gd name="connsiteX5" fmla="*/ 1651816 w 4876790"/>
                <a:gd name="connsiteY5" fmla="*/ 3460957 h 3932901"/>
                <a:gd name="connsiteX6" fmla="*/ 1573159 w 4876790"/>
                <a:gd name="connsiteY6" fmla="*/ 3932901 h 3932901"/>
                <a:gd name="connsiteX7" fmla="*/ 3303632 w 4876790"/>
                <a:gd name="connsiteY7" fmla="*/ 3932901 h 3932901"/>
                <a:gd name="connsiteX8" fmla="*/ 3224974 w 4876790"/>
                <a:gd name="connsiteY8" fmla="*/ 3460957 h 3932901"/>
                <a:gd name="connsiteX9" fmla="*/ 4562161 w 4876790"/>
                <a:gd name="connsiteY9" fmla="*/ 3460957 h 3932901"/>
                <a:gd name="connsiteX10" fmla="*/ 4876791 w 4876790"/>
                <a:gd name="connsiteY10" fmla="*/ 3146327 h 3932901"/>
                <a:gd name="connsiteX11" fmla="*/ 4876791 w 4876790"/>
                <a:gd name="connsiteY11" fmla="*/ 314639 h 3932901"/>
                <a:gd name="connsiteX12" fmla="*/ 4562170 w 4876790"/>
                <a:gd name="connsiteY12" fmla="*/ 0 h 393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76790" h="3932901">
                  <a:moveTo>
                    <a:pt x="4562170" y="0"/>
                  </a:moveTo>
                  <a:lnTo>
                    <a:pt x="314630" y="0"/>
                  </a:lnTo>
                  <a:cubicBezTo>
                    <a:pt x="140865" y="0"/>
                    <a:pt x="0" y="140865"/>
                    <a:pt x="0" y="314639"/>
                  </a:cubicBezTo>
                  <a:lnTo>
                    <a:pt x="0" y="3146327"/>
                  </a:lnTo>
                  <a:cubicBezTo>
                    <a:pt x="0" y="3320091"/>
                    <a:pt x="140865" y="3460957"/>
                    <a:pt x="314630" y="3460957"/>
                  </a:cubicBezTo>
                  <a:lnTo>
                    <a:pt x="1651816" y="3460957"/>
                  </a:lnTo>
                  <a:lnTo>
                    <a:pt x="1573159" y="3932901"/>
                  </a:lnTo>
                  <a:lnTo>
                    <a:pt x="3303632" y="3932901"/>
                  </a:lnTo>
                  <a:lnTo>
                    <a:pt x="3224974" y="3460957"/>
                  </a:lnTo>
                  <a:lnTo>
                    <a:pt x="4562161" y="3460957"/>
                  </a:lnTo>
                  <a:cubicBezTo>
                    <a:pt x="4735925" y="3460957"/>
                    <a:pt x="4876791" y="3320091"/>
                    <a:pt x="4876791" y="3146327"/>
                  </a:cubicBezTo>
                  <a:lnTo>
                    <a:pt x="4876791" y="314639"/>
                  </a:lnTo>
                  <a:cubicBezTo>
                    <a:pt x="4876800" y="140865"/>
                    <a:pt x="4735935" y="0"/>
                    <a:pt x="456217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0" name="Forme libre : forme 299">
              <a:extLst>
                <a:ext uri="{FF2B5EF4-FFF2-40B4-BE49-F238E27FC236}">
                  <a16:creationId xmlns:a16="http://schemas.microsoft.com/office/drawing/2014/main" id="{1A28471E-F6C5-3E10-A568-AD6E8DF46EF8}"/>
                </a:ext>
              </a:extLst>
            </p:cNvPr>
            <p:cNvSpPr/>
            <p:nvPr/>
          </p:nvSpPr>
          <p:spPr>
            <a:xfrm>
              <a:off x="3972229" y="1855831"/>
              <a:ext cx="2202427" cy="2831687"/>
            </a:xfrm>
            <a:custGeom>
              <a:avLst/>
              <a:gdLst>
                <a:gd name="connsiteX0" fmla="*/ 2202428 w 2202427"/>
                <a:gd name="connsiteY0" fmla="*/ 2831687 h 2831687"/>
                <a:gd name="connsiteX1" fmla="*/ 78657 w 2202427"/>
                <a:gd name="connsiteY1" fmla="*/ 2831687 h 2831687"/>
                <a:gd name="connsiteX2" fmla="*/ 0 w 2202427"/>
                <a:gd name="connsiteY2" fmla="*/ 2753030 h 2831687"/>
                <a:gd name="connsiteX3" fmla="*/ 0 w 2202427"/>
                <a:gd name="connsiteY3" fmla="*/ 78657 h 2831687"/>
                <a:gd name="connsiteX4" fmla="*/ 78657 w 2202427"/>
                <a:gd name="connsiteY4" fmla="*/ 0 h 2831687"/>
                <a:gd name="connsiteX5" fmla="*/ 2202428 w 2202427"/>
                <a:gd name="connsiteY5" fmla="*/ 0 h 2831687"/>
                <a:gd name="connsiteX6" fmla="*/ 2202428 w 2202427"/>
                <a:gd name="connsiteY6" fmla="*/ 2831687 h 283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2427" h="2831687">
                  <a:moveTo>
                    <a:pt x="2202428" y="2831687"/>
                  </a:moveTo>
                  <a:lnTo>
                    <a:pt x="78657" y="2831687"/>
                  </a:lnTo>
                  <a:cubicBezTo>
                    <a:pt x="35214" y="2831687"/>
                    <a:pt x="0" y="2796473"/>
                    <a:pt x="0" y="2753030"/>
                  </a:cubicBezTo>
                  <a:lnTo>
                    <a:pt x="0" y="78657"/>
                  </a:lnTo>
                  <a:cubicBezTo>
                    <a:pt x="0" y="35214"/>
                    <a:pt x="35214" y="0"/>
                    <a:pt x="78657" y="0"/>
                  </a:cubicBezTo>
                  <a:lnTo>
                    <a:pt x="2202428" y="0"/>
                  </a:lnTo>
                  <a:lnTo>
                    <a:pt x="2202428" y="2831687"/>
                  </a:lnTo>
                  <a:close/>
                </a:path>
              </a:pathLst>
            </a:custGeom>
            <a:solidFill>
              <a:srgbClr val="DAC6E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1" name="Forme libre : forme 300">
              <a:extLst>
                <a:ext uri="{FF2B5EF4-FFF2-40B4-BE49-F238E27FC236}">
                  <a16:creationId xmlns:a16="http://schemas.microsoft.com/office/drawing/2014/main" id="{1C959803-4A57-2C66-DB3D-E7853650FBD4}"/>
                </a:ext>
              </a:extLst>
            </p:cNvPr>
            <p:cNvSpPr/>
            <p:nvPr/>
          </p:nvSpPr>
          <p:spPr>
            <a:xfrm>
              <a:off x="4365517" y="3428990"/>
              <a:ext cx="1415843" cy="1258538"/>
            </a:xfrm>
            <a:custGeom>
              <a:avLst/>
              <a:gdLst>
                <a:gd name="connsiteX0" fmla="*/ 1285408 w 1415843"/>
                <a:gd name="connsiteY0" fmla="*/ 564042 h 1258538"/>
                <a:gd name="connsiteX1" fmla="*/ 1030862 w 1415843"/>
                <a:gd name="connsiteY1" fmla="*/ 436779 h 1258538"/>
                <a:gd name="connsiteX2" fmla="*/ 943899 w 1415843"/>
                <a:gd name="connsiteY2" fmla="*/ 296066 h 1258538"/>
                <a:gd name="connsiteX3" fmla="*/ 943899 w 1415843"/>
                <a:gd name="connsiteY3" fmla="*/ 0 h 1258538"/>
                <a:gd name="connsiteX4" fmla="*/ 471954 w 1415843"/>
                <a:gd name="connsiteY4" fmla="*/ 0 h 1258538"/>
                <a:gd name="connsiteX5" fmla="*/ 471954 w 1415843"/>
                <a:gd name="connsiteY5" fmla="*/ 296066 h 1258538"/>
                <a:gd name="connsiteX6" fmla="*/ 384991 w 1415843"/>
                <a:gd name="connsiteY6" fmla="*/ 436779 h 1258538"/>
                <a:gd name="connsiteX7" fmla="*/ 130445 w 1415843"/>
                <a:gd name="connsiteY7" fmla="*/ 564042 h 1258538"/>
                <a:gd name="connsiteX8" fmla="*/ 0 w 1415843"/>
                <a:gd name="connsiteY8" fmla="*/ 775106 h 1258538"/>
                <a:gd name="connsiteX9" fmla="*/ 0 w 1415843"/>
                <a:gd name="connsiteY9" fmla="*/ 1258538 h 1258538"/>
                <a:gd name="connsiteX10" fmla="*/ 1415844 w 1415843"/>
                <a:gd name="connsiteY10" fmla="*/ 1258538 h 1258538"/>
                <a:gd name="connsiteX11" fmla="*/ 1415844 w 1415843"/>
                <a:gd name="connsiteY11" fmla="*/ 775106 h 1258538"/>
                <a:gd name="connsiteX12" fmla="*/ 1285408 w 1415843"/>
                <a:gd name="connsiteY12" fmla="*/ 564042 h 125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5843" h="1258538">
                  <a:moveTo>
                    <a:pt x="1285408" y="564042"/>
                  </a:moveTo>
                  <a:lnTo>
                    <a:pt x="1030862" y="436779"/>
                  </a:lnTo>
                  <a:cubicBezTo>
                    <a:pt x="977570" y="410128"/>
                    <a:pt x="943899" y="355654"/>
                    <a:pt x="943899" y="296066"/>
                  </a:cubicBezTo>
                  <a:lnTo>
                    <a:pt x="943899" y="0"/>
                  </a:lnTo>
                  <a:lnTo>
                    <a:pt x="471954" y="0"/>
                  </a:lnTo>
                  <a:lnTo>
                    <a:pt x="471954" y="296066"/>
                  </a:lnTo>
                  <a:cubicBezTo>
                    <a:pt x="471954" y="355654"/>
                    <a:pt x="438293" y="410128"/>
                    <a:pt x="384991" y="436779"/>
                  </a:cubicBezTo>
                  <a:lnTo>
                    <a:pt x="130445" y="564042"/>
                  </a:lnTo>
                  <a:cubicBezTo>
                    <a:pt x="50502" y="604018"/>
                    <a:pt x="0" y="685724"/>
                    <a:pt x="0" y="775106"/>
                  </a:cubicBezTo>
                  <a:lnTo>
                    <a:pt x="0" y="1258538"/>
                  </a:lnTo>
                  <a:lnTo>
                    <a:pt x="1415844" y="1258538"/>
                  </a:lnTo>
                  <a:lnTo>
                    <a:pt x="1415844" y="775106"/>
                  </a:lnTo>
                  <a:cubicBezTo>
                    <a:pt x="1415853" y="685724"/>
                    <a:pt x="1365352" y="604009"/>
                    <a:pt x="1285408" y="564042"/>
                  </a:cubicBezTo>
                  <a:close/>
                </a:path>
              </a:pathLst>
            </a:custGeom>
            <a:solidFill>
              <a:srgbClr val="E6AF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2" name="Forme libre : forme 301">
              <a:extLst>
                <a:ext uri="{FF2B5EF4-FFF2-40B4-BE49-F238E27FC236}">
                  <a16:creationId xmlns:a16="http://schemas.microsoft.com/office/drawing/2014/main" id="{7B7B6497-D7CF-65EE-208B-926AA8A05AC4}"/>
                </a:ext>
              </a:extLst>
            </p:cNvPr>
            <p:cNvSpPr/>
            <p:nvPr/>
          </p:nvSpPr>
          <p:spPr>
            <a:xfrm>
              <a:off x="4365526" y="3801541"/>
              <a:ext cx="1415843" cy="885977"/>
            </a:xfrm>
            <a:custGeom>
              <a:avLst/>
              <a:gdLst>
                <a:gd name="connsiteX0" fmla="*/ 1285399 w 1415843"/>
                <a:gd name="connsiteY0" fmla="*/ 191491 h 885977"/>
                <a:gd name="connsiteX1" fmla="*/ 1030853 w 1415843"/>
                <a:gd name="connsiteY1" fmla="*/ 64227 h 885977"/>
                <a:gd name="connsiteX2" fmla="*/ 964635 w 1415843"/>
                <a:gd name="connsiteY2" fmla="*/ 0 h 885977"/>
                <a:gd name="connsiteX3" fmla="*/ 819160 w 1415843"/>
                <a:gd name="connsiteY3" fmla="*/ 145475 h 885977"/>
                <a:gd name="connsiteX4" fmla="*/ 596684 w 1415843"/>
                <a:gd name="connsiteY4" fmla="*/ 145475 h 885977"/>
                <a:gd name="connsiteX5" fmla="*/ 451209 w 1415843"/>
                <a:gd name="connsiteY5" fmla="*/ 0 h 885977"/>
                <a:gd name="connsiteX6" fmla="*/ 384991 w 1415843"/>
                <a:gd name="connsiteY6" fmla="*/ 64227 h 885977"/>
                <a:gd name="connsiteX7" fmla="*/ 130445 w 1415843"/>
                <a:gd name="connsiteY7" fmla="*/ 191491 h 885977"/>
                <a:gd name="connsiteX8" fmla="*/ 0 w 1415843"/>
                <a:gd name="connsiteY8" fmla="*/ 402546 h 885977"/>
                <a:gd name="connsiteX9" fmla="*/ 0 w 1415843"/>
                <a:gd name="connsiteY9" fmla="*/ 885977 h 885977"/>
                <a:gd name="connsiteX10" fmla="*/ 1415844 w 1415843"/>
                <a:gd name="connsiteY10" fmla="*/ 885977 h 885977"/>
                <a:gd name="connsiteX11" fmla="*/ 1415844 w 1415843"/>
                <a:gd name="connsiteY11" fmla="*/ 402546 h 885977"/>
                <a:gd name="connsiteX12" fmla="*/ 1285399 w 1415843"/>
                <a:gd name="connsiteY12" fmla="*/ 191491 h 885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5843" h="885977">
                  <a:moveTo>
                    <a:pt x="1285399" y="191491"/>
                  </a:moveTo>
                  <a:lnTo>
                    <a:pt x="1030853" y="64227"/>
                  </a:lnTo>
                  <a:cubicBezTo>
                    <a:pt x="1002097" y="49844"/>
                    <a:pt x="979761" y="27013"/>
                    <a:pt x="964635" y="0"/>
                  </a:cubicBezTo>
                  <a:lnTo>
                    <a:pt x="819160" y="145475"/>
                  </a:lnTo>
                  <a:cubicBezTo>
                    <a:pt x="757723" y="206912"/>
                    <a:pt x="658120" y="206912"/>
                    <a:pt x="596684" y="145475"/>
                  </a:cubicBezTo>
                  <a:lnTo>
                    <a:pt x="451209" y="0"/>
                  </a:lnTo>
                  <a:cubicBezTo>
                    <a:pt x="436083" y="27013"/>
                    <a:pt x="413747" y="49844"/>
                    <a:pt x="384991" y="64227"/>
                  </a:cubicBezTo>
                  <a:lnTo>
                    <a:pt x="130445" y="191491"/>
                  </a:lnTo>
                  <a:cubicBezTo>
                    <a:pt x="50502" y="231457"/>
                    <a:pt x="0" y="313163"/>
                    <a:pt x="0" y="402546"/>
                  </a:cubicBezTo>
                  <a:lnTo>
                    <a:pt x="0" y="885977"/>
                  </a:lnTo>
                  <a:lnTo>
                    <a:pt x="1415844" y="885977"/>
                  </a:lnTo>
                  <a:lnTo>
                    <a:pt x="1415844" y="402546"/>
                  </a:lnTo>
                  <a:cubicBezTo>
                    <a:pt x="1415844" y="313172"/>
                    <a:pt x="1365342" y="231457"/>
                    <a:pt x="1285399" y="191491"/>
                  </a:cubicBezTo>
                  <a:close/>
                </a:path>
              </a:pathLst>
            </a:custGeom>
            <a:solidFill>
              <a:srgbClr val="58297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3" name="Forme libre : forme 302">
              <a:extLst>
                <a:ext uri="{FF2B5EF4-FFF2-40B4-BE49-F238E27FC236}">
                  <a16:creationId xmlns:a16="http://schemas.microsoft.com/office/drawing/2014/main" id="{A9AC4744-7B87-7E1D-E1E7-FEC4E29E0DF4}"/>
                </a:ext>
              </a:extLst>
            </p:cNvPr>
            <p:cNvSpPr/>
            <p:nvPr/>
          </p:nvSpPr>
          <p:spPr>
            <a:xfrm>
              <a:off x="4837471" y="3428990"/>
              <a:ext cx="471944" cy="314629"/>
            </a:xfrm>
            <a:custGeom>
              <a:avLst/>
              <a:gdLst>
                <a:gd name="connsiteX0" fmla="*/ 0 w 471944"/>
                <a:gd name="connsiteY0" fmla="*/ 268300 h 314629"/>
                <a:gd name="connsiteX1" fmla="*/ 235972 w 471944"/>
                <a:gd name="connsiteY1" fmla="*/ 314630 h 314629"/>
                <a:gd name="connsiteX2" fmla="*/ 471945 w 471944"/>
                <a:gd name="connsiteY2" fmla="*/ 268300 h 314629"/>
                <a:gd name="connsiteX3" fmla="*/ 471945 w 471944"/>
                <a:gd name="connsiteY3" fmla="*/ 0 h 314629"/>
                <a:gd name="connsiteX4" fmla="*/ 0 w 471944"/>
                <a:gd name="connsiteY4" fmla="*/ 0 h 314629"/>
                <a:gd name="connsiteX5" fmla="*/ 0 w 471944"/>
                <a:gd name="connsiteY5" fmla="*/ 268300 h 3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1944" h="314629">
                  <a:moveTo>
                    <a:pt x="0" y="268300"/>
                  </a:moveTo>
                  <a:cubicBezTo>
                    <a:pt x="72952" y="297942"/>
                    <a:pt x="152505" y="314630"/>
                    <a:pt x="235972" y="314630"/>
                  </a:cubicBezTo>
                  <a:cubicBezTo>
                    <a:pt x="319440" y="314630"/>
                    <a:pt x="398993" y="297942"/>
                    <a:pt x="471945" y="268300"/>
                  </a:cubicBezTo>
                  <a:lnTo>
                    <a:pt x="471945" y="0"/>
                  </a:lnTo>
                  <a:lnTo>
                    <a:pt x="0" y="0"/>
                  </a:lnTo>
                  <a:lnTo>
                    <a:pt x="0" y="268300"/>
                  </a:lnTo>
                  <a:close/>
                </a:path>
              </a:pathLst>
            </a:custGeom>
            <a:solidFill>
              <a:srgbClr val="D29B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4" name="Forme libre : forme 303">
              <a:extLst>
                <a:ext uri="{FF2B5EF4-FFF2-40B4-BE49-F238E27FC236}">
                  <a16:creationId xmlns:a16="http://schemas.microsoft.com/office/drawing/2014/main" id="{DA37BD67-D336-FC2C-4517-6902F8341104}"/>
                </a:ext>
              </a:extLst>
            </p:cNvPr>
            <p:cNvSpPr/>
            <p:nvPr/>
          </p:nvSpPr>
          <p:spPr>
            <a:xfrm>
              <a:off x="4837518" y="2170509"/>
              <a:ext cx="471944" cy="471944"/>
            </a:xfrm>
            <a:custGeom>
              <a:avLst/>
              <a:gdLst>
                <a:gd name="connsiteX0" fmla="*/ 471945 w 471944"/>
                <a:gd name="connsiteY0" fmla="*/ 235972 h 471944"/>
                <a:gd name="connsiteX1" fmla="*/ 235972 w 471944"/>
                <a:gd name="connsiteY1" fmla="*/ 471945 h 471944"/>
                <a:gd name="connsiteX2" fmla="*/ 0 w 471944"/>
                <a:gd name="connsiteY2" fmla="*/ 235972 h 471944"/>
                <a:gd name="connsiteX3" fmla="*/ 235972 w 471944"/>
                <a:gd name="connsiteY3" fmla="*/ 0 h 471944"/>
                <a:gd name="connsiteX4" fmla="*/ 471945 w 471944"/>
                <a:gd name="connsiteY4" fmla="*/ 235972 h 47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944" h="471944">
                  <a:moveTo>
                    <a:pt x="471945" y="235972"/>
                  </a:moveTo>
                  <a:cubicBezTo>
                    <a:pt x="471945" y="366296"/>
                    <a:pt x="366296" y="471945"/>
                    <a:pt x="235972" y="471945"/>
                  </a:cubicBezTo>
                  <a:cubicBezTo>
                    <a:pt x="105648" y="471945"/>
                    <a:pt x="0" y="366296"/>
                    <a:pt x="0" y="235972"/>
                  </a:cubicBezTo>
                  <a:cubicBezTo>
                    <a:pt x="0" y="105648"/>
                    <a:pt x="105648" y="0"/>
                    <a:pt x="235972" y="0"/>
                  </a:cubicBezTo>
                  <a:cubicBezTo>
                    <a:pt x="366296" y="0"/>
                    <a:pt x="471945" y="105648"/>
                    <a:pt x="471945" y="235972"/>
                  </a:cubicBezTo>
                  <a:close/>
                </a:path>
              </a:pathLst>
            </a:custGeom>
            <a:solidFill>
              <a:srgbClr val="6E4B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5" name="Forme libre : forme 304">
              <a:extLst>
                <a:ext uri="{FF2B5EF4-FFF2-40B4-BE49-F238E27FC236}">
                  <a16:creationId xmlns:a16="http://schemas.microsoft.com/office/drawing/2014/main" id="{F9B8320C-FEC9-90C4-A298-3EE464FAA56A}"/>
                </a:ext>
              </a:extLst>
            </p:cNvPr>
            <p:cNvSpPr/>
            <p:nvPr/>
          </p:nvSpPr>
          <p:spPr>
            <a:xfrm>
              <a:off x="4601498" y="2485101"/>
              <a:ext cx="943889" cy="1101204"/>
            </a:xfrm>
            <a:custGeom>
              <a:avLst/>
              <a:gdLst>
                <a:gd name="connsiteX0" fmla="*/ 471945 w 943889"/>
                <a:gd name="connsiteY0" fmla="*/ 1101205 h 1101204"/>
                <a:gd name="connsiteX1" fmla="*/ 471945 w 943889"/>
                <a:gd name="connsiteY1" fmla="*/ 1101205 h 1101204"/>
                <a:gd name="connsiteX2" fmla="*/ 0 w 943889"/>
                <a:gd name="connsiteY2" fmla="*/ 629260 h 1101204"/>
                <a:gd name="connsiteX3" fmla="*/ 0 w 943889"/>
                <a:gd name="connsiteY3" fmla="*/ 471945 h 1101204"/>
                <a:gd name="connsiteX4" fmla="*/ 471945 w 943889"/>
                <a:gd name="connsiteY4" fmla="*/ 0 h 1101204"/>
                <a:gd name="connsiteX5" fmla="*/ 471945 w 943889"/>
                <a:gd name="connsiteY5" fmla="*/ 0 h 1101204"/>
                <a:gd name="connsiteX6" fmla="*/ 943889 w 943889"/>
                <a:gd name="connsiteY6" fmla="*/ 471945 h 1101204"/>
                <a:gd name="connsiteX7" fmla="*/ 943889 w 943889"/>
                <a:gd name="connsiteY7" fmla="*/ 629260 h 1101204"/>
                <a:gd name="connsiteX8" fmla="*/ 471945 w 943889"/>
                <a:gd name="connsiteY8" fmla="*/ 1101205 h 1101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3889" h="1101204">
                  <a:moveTo>
                    <a:pt x="471945" y="1101205"/>
                  </a:moveTo>
                  <a:lnTo>
                    <a:pt x="471945" y="1101205"/>
                  </a:lnTo>
                  <a:cubicBezTo>
                    <a:pt x="211293" y="1101205"/>
                    <a:pt x="0" y="889902"/>
                    <a:pt x="0" y="629260"/>
                  </a:cubicBezTo>
                  <a:lnTo>
                    <a:pt x="0" y="471945"/>
                  </a:lnTo>
                  <a:cubicBezTo>
                    <a:pt x="0" y="211293"/>
                    <a:pt x="211303" y="0"/>
                    <a:pt x="471945" y="0"/>
                  </a:cubicBezTo>
                  <a:lnTo>
                    <a:pt x="471945" y="0"/>
                  </a:lnTo>
                  <a:cubicBezTo>
                    <a:pt x="732596" y="0"/>
                    <a:pt x="943889" y="211303"/>
                    <a:pt x="943889" y="471945"/>
                  </a:cubicBezTo>
                  <a:lnTo>
                    <a:pt x="943889" y="629260"/>
                  </a:lnTo>
                  <a:cubicBezTo>
                    <a:pt x="943889" y="889911"/>
                    <a:pt x="732596" y="1101205"/>
                    <a:pt x="471945" y="1101205"/>
                  </a:cubicBezTo>
                  <a:close/>
                </a:path>
              </a:pathLst>
            </a:custGeom>
            <a:solidFill>
              <a:srgbClr val="F0C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6" name="Forme libre : forme 305">
              <a:extLst>
                <a:ext uri="{FF2B5EF4-FFF2-40B4-BE49-F238E27FC236}">
                  <a16:creationId xmlns:a16="http://schemas.microsoft.com/office/drawing/2014/main" id="{207C390C-8D28-8B23-6775-25D68F271D3F}"/>
                </a:ext>
              </a:extLst>
            </p:cNvPr>
            <p:cNvSpPr/>
            <p:nvPr/>
          </p:nvSpPr>
          <p:spPr>
            <a:xfrm>
              <a:off x="4601498" y="2487025"/>
              <a:ext cx="433758" cy="1097356"/>
            </a:xfrm>
            <a:custGeom>
              <a:avLst/>
              <a:gdLst>
                <a:gd name="connsiteX0" fmla="*/ 314630 w 433758"/>
                <a:gd name="connsiteY0" fmla="*/ 784651 h 1097356"/>
                <a:gd name="connsiteX1" fmla="*/ 314630 w 433758"/>
                <a:gd name="connsiteY1" fmla="*/ 312706 h 1097356"/>
                <a:gd name="connsiteX2" fmla="*/ 433759 w 433758"/>
                <a:gd name="connsiteY2" fmla="*/ 0 h 1097356"/>
                <a:gd name="connsiteX3" fmla="*/ 0 w 433758"/>
                <a:gd name="connsiteY3" fmla="*/ 470021 h 1097356"/>
                <a:gd name="connsiteX4" fmla="*/ 0 w 433758"/>
                <a:gd name="connsiteY4" fmla="*/ 627336 h 1097356"/>
                <a:gd name="connsiteX5" fmla="*/ 433759 w 433758"/>
                <a:gd name="connsiteY5" fmla="*/ 1097356 h 1097356"/>
                <a:gd name="connsiteX6" fmla="*/ 314630 w 433758"/>
                <a:gd name="connsiteY6" fmla="*/ 784651 h 109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3758" h="1097356">
                  <a:moveTo>
                    <a:pt x="314630" y="784651"/>
                  </a:moveTo>
                  <a:lnTo>
                    <a:pt x="314630" y="312706"/>
                  </a:lnTo>
                  <a:cubicBezTo>
                    <a:pt x="314630" y="192596"/>
                    <a:pt x="359874" y="83306"/>
                    <a:pt x="433759" y="0"/>
                  </a:cubicBezTo>
                  <a:cubicBezTo>
                    <a:pt x="191014" y="19488"/>
                    <a:pt x="0" y="222256"/>
                    <a:pt x="0" y="470021"/>
                  </a:cubicBezTo>
                  <a:lnTo>
                    <a:pt x="0" y="627336"/>
                  </a:lnTo>
                  <a:cubicBezTo>
                    <a:pt x="0" y="875100"/>
                    <a:pt x="191014" y="1077859"/>
                    <a:pt x="433759" y="1097356"/>
                  </a:cubicBezTo>
                  <a:cubicBezTo>
                    <a:pt x="359874" y="1014050"/>
                    <a:pt x="314630" y="904761"/>
                    <a:pt x="314630" y="784651"/>
                  </a:cubicBezTo>
                  <a:close/>
                </a:path>
              </a:pathLst>
            </a:custGeom>
            <a:solidFill>
              <a:srgbClr val="E6AF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7" name="Forme libre : forme 306">
              <a:extLst>
                <a:ext uri="{FF2B5EF4-FFF2-40B4-BE49-F238E27FC236}">
                  <a16:creationId xmlns:a16="http://schemas.microsoft.com/office/drawing/2014/main" id="{E1C815DF-B7E2-544E-7637-B5166D50E263}"/>
                </a:ext>
              </a:extLst>
            </p:cNvPr>
            <p:cNvSpPr/>
            <p:nvPr/>
          </p:nvSpPr>
          <p:spPr>
            <a:xfrm>
              <a:off x="4601498" y="2485091"/>
              <a:ext cx="943898" cy="594650"/>
            </a:xfrm>
            <a:custGeom>
              <a:avLst/>
              <a:gdLst>
                <a:gd name="connsiteX0" fmla="*/ 471945 w 943898"/>
                <a:gd name="connsiteY0" fmla="*/ 0 h 594650"/>
                <a:gd name="connsiteX1" fmla="*/ 0 w 943898"/>
                <a:gd name="connsiteY1" fmla="*/ 471945 h 594650"/>
                <a:gd name="connsiteX2" fmla="*/ 0 w 943898"/>
                <a:gd name="connsiteY2" fmla="*/ 550602 h 594650"/>
                <a:gd name="connsiteX3" fmla="*/ 314630 w 943898"/>
                <a:gd name="connsiteY3" fmla="*/ 393287 h 594650"/>
                <a:gd name="connsiteX4" fmla="*/ 943899 w 943898"/>
                <a:gd name="connsiteY4" fmla="*/ 550602 h 594650"/>
                <a:gd name="connsiteX5" fmla="*/ 943899 w 943898"/>
                <a:gd name="connsiteY5" fmla="*/ 471945 h 594650"/>
                <a:gd name="connsiteX6" fmla="*/ 471945 w 943898"/>
                <a:gd name="connsiteY6" fmla="*/ 0 h 59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3898" h="594650">
                  <a:moveTo>
                    <a:pt x="471945" y="0"/>
                  </a:moveTo>
                  <a:cubicBezTo>
                    <a:pt x="211293" y="0"/>
                    <a:pt x="0" y="211293"/>
                    <a:pt x="0" y="471945"/>
                  </a:cubicBezTo>
                  <a:lnTo>
                    <a:pt x="0" y="550602"/>
                  </a:lnTo>
                  <a:cubicBezTo>
                    <a:pt x="0" y="550602"/>
                    <a:pt x="157315" y="550602"/>
                    <a:pt x="314630" y="393287"/>
                  </a:cubicBezTo>
                  <a:cubicBezTo>
                    <a:pt x="314630" y="393287"/>
                    <a:pt x="550602" y="707917"/>
                    <a:pt x="943899" y="550602"/>
                  </a:cubicBezTo>
                  <a:lnTo>
                    <a:pt x="943899" y="471945"/>
                  </a:lnTo>
                  <a:cubicBezTo>
                    <a:pt x="943899" y="211303"/>
                    <a:pt x="732596" y="0"/>
                    <a:pt x="471945" y="0"/>
                  </a:cubicBezTo>
                  <a:close/>
                </a:path>
              </a:pathLst>
            </a:custGeom>
            <a:solidFill>
              <a:srgbClr val="5C414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8" name="Forme libre : forme 307">
              <a:extLst>
                <a:ext uri="{FF2B5EF4-FFF2-40B4-BE49-F238E27FC236}">
                  <a16:creationId xmlns:a16="http://schemas.microsoft.com/office/drawing/2014/main" id="{E3EC664B-0451-6BAF-990D-3FF94D8A78A7}"/>
                </a:ext>
              </a:extLst>
            </p:cNvPr>
            <p:cNvSpPr/>
            <p:nvPr/>
          </p:nvSpPr>
          <p:spPr>
            <a:xfrm>
              <a:off x="4601498" y="2487015"/>
              <a:ext cx="433758" cy="548677"/>
            </a:xfrm>
            <a:custGeom>
              <a:avLst/>
              <a:gdLst>
                <a:gd name="connsiteX0" fmla="*/ 314630 w 433758"/>
                <a:gd name="connsiteY0" fmla="*/ 312706 h 548677"/>
                <a:gd name="connsiteX1" fmla="*/ 433759 w 433758"/>
                <a:gd name="connsiteY1" fmla="*/ 0 h 548677"/>
                <a:gd name="connsiteX2" fmla="*/ 0 w 433758"/>
                <a:gd name="connsiteY2" fmla="*/ 470021 h 548677"/>
                <a:gd name="connsiteX3" fmla="*/ 0 w 433758"/>
                <a:gd name="connsiteY3" fmla="*/ 548678 h 548677"/>
                <a:gd name="connsiteX4" fmla="*/ 314630 w 433758"/>
                <a:gd name="connsiteY4" fmla="*/ 391363 h 548677"/>
                <a:gd name="connsiteX5" fmla="*/ 314630 w 433758"/>
                <a:gd name="connsiteY5" fmla="*/ 312706 h 54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758" h="548677">
                  <a:moveTo>
                    <a:pt x="314630" y="312706"/>
                  </a:moveTo>
                  <a:cubicBezTo>
                    <a:pt x="314630" y="192596"/>
                    <a:pt x="359874" y="83306"/>
                    <a:pt x="433759" y="0"/>
                  </a:cubicBezTo>
                  <a:cubicBezTo>
                    <a:pt x="191014" y="19488"/>
                    <a:pt x="0" y="222256"/>
                    <a:pt x="0" y="470021"/>
                  </a:cubicBezTo>
                  <a:lnTo>
                    <a:pt x="0" y="548678"/>
                  </a:lnTo>
                  <a:cubicBezTo>
                    <a:pt x="0" y="548678"/>
                    <a:pt x="157315" y="548678"/>
                    <a:pt x="314630" y="391363"/>
                  </a:cubicBezTo>
                  <a:lnTo>
                    <a:pt x="314630" y="312706"/>
                  </a:lnTo>
                  <a:close/>
                </a:path>
              </a:pathLst>
            </a:custGeom>
            <a:solidFill>
              <a:srgbClr val="50344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09" name="Forme libre : forme 308">
              <a:extLst>
                <a:ext uri="{FF2B5EF4-FFF2-40B4-BE49-F238E27FC236}">
                  <a16:creationId xmlns:a16="http://schemas.microsoft.com/office/drawing/2014/main" id="{042E8C95-F91E-DE6F-2824-314AB81FF41F}"/>
                </a:ext>
              </a:extLst>
            </p:cNvPr>
            <p:cNvSpPr/>
            <p:nvPr/>
          </p:nvSpPr>
          <p:spPr>
            <a:xfrm>
              <a:off x="6174657" y="1855831"/>
              <a:ext cx="2045112" cy="1415843"/>
            </a:xfrm>
            <a:custGeom>
              <a:avLst/>
              <a:gdLst>
                <a:gd name="connsiteX0" fmla="*/ 1966455 w 2045112"/>
                <a:gd name="connsiteY0" fmla="*/ 0 h 1415843"/>
                <a:gd name="connsiteX1" fmla="*/ 0 w 2045112"/>
                <a:gd name="connsiteY1" fmla="*/ 0 h 1415843"/>
                <a:gd name="connsiteX2" fmla="*/ 0 w 2045112"/>
                <a:gd name="connsiteY2" fmla="*/ 1415844 h 1415843"/>
                <a:gd name="connsiteX3" fmla="*/ 2045113 w 2045112"/>
                <a:gd name="connsiteY3" fmla="*/ 1415844 h 1415843"/>
                <a:gd name="connsiteX4" fmla="*/ 2045113 w 2045112"/>
                <a:gd name="connsiteY4" fmla="*/ 78657 h 1415843"/>
                <a:gd name="connsiteX5" fmla="*/ 1966455 w 2045112"/>
                <a:gd name="connsiteY5" fmla="*/ 0 h 141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112" h="1415843">
                  <a:moveTo>
                    <a:pt x="1966455" y="0"/>
                  </a:moveTo>
                  <a:lnTo>
                    <a:pt x="0" y="0"/>
                  </a:lnTo>
                  <a:lnTo>
                    <a:pt x="0" y="1415844"/>
                  </a:lnTo>
                  <a:lnTo>
                    <a:pt x="2045113" y="1415844"/>
                  </a:lnTo>
                  <a:lnTo>
                    <a:pt x="2045113" y="78657"/>
                  </a:lnTo>
                  <a:cubicBezTo>
                    <a:pt x="2045113" y="35214"/>
                    <a:pt x="2009899" y="0"/>
                    <a:pt x="1966455" y="0"/>
                  </a:cubicBezTo>
                  <a:close/>
                </a:path>
              </a:pathLst>
            </a:custGeom>
            <a:solidFill>
              <a:srgbClr val="FFA2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0" name="Forme libre : forme 309">
              <a:extLst>
                <a:ext uri="{FF2B5EF4-FFF2-40B4-BE49-F238E27FC236}">
                  <a16:creationId xmlns:a16="http://schemas.microsoft.com/office/drawing/2014/main" id="{9906F257-40E5-A109-8EC7-45161398FF34}"/>
                </a:ext>
              </a:extLst>
            </p:cNvPr>
            <p:cNvSpPr/>
            <p:nvPr/>
          </p:nvSpPr>
          <p:spPr>
            <a:xfrm>
              <a:off x="6174657" y="3271675"/>
              <a:ext cx="2045112" cy="1415843"/>
            </a:xfrm>
            <a:custGeom>
              <a:avLst/>
              <a:gdLst>
                <a:gd name="connsiteX0" fmla="*/ 1966455 w 2045112"/>
                <a:gd name="connsiteY0" fmla="*/ 1415844 h 1415843"/>
                <a:gd name="connsiteX1" fmla="*/ 0 w 2045112"/>
                <a:gd name="connsiteY1" fmla="*/ 1415844 h 1415843"/>
                <a:gd name="connsiteX2" fmla="*/ 0 w 2045112"/>
                <a:gd name="connsiteY2" fmla="*/ 0 h 1415843"/>
                <a:gd name="connsiteX3" fmla="*/ 2045113 w 2045112"/>
                <a:gd name="connsiteY3" fmla="*/ 0 h 1415843"/>
                <a:gd name="connsiteX4" fmla="*/ 2045113 w 2045112"/>
                <a:gd name="connsiteY4" fmla="*/ 1337186 h 1415843"/>
                <a:gd name="connsiteX5" fmla="*/ 1966455 w 2045112"/>
                <a:gd name="connsiteY5" fmla="*/ 1415844 h 141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112" h="1415843">
                  <a:moveTo>
                    <a:pt x="1966455" y="1415844"/>
                  </a:moveTo>
                  <a:lnTo>
                    <a:pt x="0" y="1415844"/>
                  </a:lnTo>
                  <a:lnTo>
                    <a:pt x="0" y="0"/>
                  </a:lnTo>
                  <a:lnTo>
                    <a:pt x="2045113" y="0"/>
                  </a:lnTo>
                  <a:lnTo>
                    <a:pt x="2045113" y="1337186"/>
                  </a:lnTo>
                  <a:cubicBezTo>
                    <a:pt x="2045113" y="1380630"/>
                    <a:pt x="2009899" y="1415844"/>
                    <a:pt x="1966455" y="1415844"/>
                  </a:cubicBezTo>
                  <a:close/>
                </a:path>
              </a:pathLst>
            </a:custGeom>
            <a:solidFill>
              <a:srgbClr val="FFC27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1" name="Forme libre : forme 310">
              <a:extLst>
                <a:ext uri="{FF2B5EF4-FFF2-40B4-BE49-F238E27FC236}">
                  <a16:creationId xmlns:a16="http://schemas.microsoft.com/office/drawing/2014/main" id="{63D3658C-543C-8429-2CFB-D1FAA474FC54}"/>
                </a:ext>
              </a:extLst>
            </p:cNvPr>
            <p:cNvSpPr/>
            <p:nvPr/>
          </p:nvSpPr>
          <p:spPr>
            <a:xfrm>
              <a:off x="5781370" y="1069248"/>
              <a:ext cx="629259" cy="786573"/>
            </a:xfrm>
            <a:custGeom>
              <a:avLst/>
              <a:gdLst>
                <a:gd name="connsiteX0" fmla="*/ 283731 w 629259"/>
                <a:gd name="connsiteY0" fmla="*/ 1476 h 786573"/>
                <a:gd name="connsiteX1" fmla="*/ 0 w 629259"/>
                <a:gd name="connsiteY1" fmla="*/ 328145 h 786573"/>
                <a:gd name="connsiteX2" fmla="*/ 0 w 629259"/>
                <a:gd name="connsiteY2" fmla="*/ 707917 h 786573"/>
                <a:gd name="connsiteX3" fmla="*/ 78657 w 629259"/>
                <a:gd name="connsiteY3" fmla="*/ 786574 h 786573"/>
                <a:gd name="connsiteX4" fmla="*/ 550602 w 629259"/>
                <a:gd name="connsiteY4" fmla="*/ 786574 h 786573"/>
                <a:gd name="connsiteX5" fmla="*/ 629260 w 629259"/>
                <a:gd name="connsiteY5" fmla="*/ 707917 h 786573"/>
                <a:gd name="connsiteX6" fmla="*/ 629260 w 629259"/>
                <a:gd name="connsiteY6" fmla="*/ 314629 h 786573"/>
                <a:gd name="connsiteX7" fmla="*/ 283731 w 629259"/>
                <a:gd name="connsiteY7" fmla="*/ 1476 h 78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259" h="786573">
                  <a:moveTo>
                    <a:pt x="283731" y="1476"/>
                  </a:moveTo>
                  <a:cubicBezTo>
                    <a:pt x="120139" y="17078"/>
                    <a:pt x="0" y="163820"/>
                    <a:pt x="0" y="328145"/>
                  </a:cubicBezTo>
                  <a:lnTo>
                    <a:pt x="0" y="707917"/>
                  </a:lnTo>
                  <a:cubicBezTo>
                    <a:pt x="0" y="751360"/>
                    <a:pt x="35214" y="786574"/>
                    <a:pt x="78657" y="786574"/>
                  </a:cubicBezTo>
                  <a:lnTo>
                    <a:pt x="550602" y="786574"/>
                  </a:lnTo>
                  <a:cubicBezTo>
                    <a:pt x="594046" y="786574"/>
                    <a:pt x="629260" y="751360"/>
                    <a:pt x="629260" y="707917"/>
                  </a:cubicBezTo>
                  <a:lnTo>
                    <a:pt x="629260" y="314629"/>
                  </a:lnTo>
                  <a:cubicBezTo>
                    <a:pt x="629260" y="130663"/>
                    <a:pt x="471383" y="-16412"/>
                    <a:pt x="283731" y="1476"/>
                  </a:cubicBezTo>
                  <a:close/>
                </a:path>
              </a:pathLst>
            </a:custGeom>
            <a:solidFill>
              <a:srgbClr val="AEA8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2" name="Forme libre : forme 311">
              <a:extLst>
                <a:ext uri="{FF2B5EF4-FFF2-40B4-BE49-F238E27FC236}">
                  <a16:creationId xmlns:a16="http://schemas.microsoft.com/office/drawing/2014/main" id="{3C47D77E-D6E7-3550-A472-C98DC7C3668F}"/>
                </a:ext>
              </a:extLst>
            </p:cNvPr>
            <p:cNvSpPr/>
            <p:nvPr/>
          </p:nvSpPr>
          <p:spPr>
            <a:xfrm>
              <a:off x="4916128" y="5474103"/>
              <a:ext cx="2359742" cy="314629"/>
            </a:xfrm>
            <a:custGeom>
              <a:avLst/>
              <a:gdLst>
                <a:gd name="connsiteX0" fmla="*/ 2202428 w 2359742"/>
                <a:gd name="connsiteY0" fmla="*/ 314630 h 314629"/>
                <a:gd name="connsiteX1" fmla="*/ 157315 w 2359742"/>
                <a:gd name="connsiteY1" fmla="*/ 314630 h 314629"/>
                <a:gd name="connsiteX2" fmla="*/ 0 w 2359742"/>
                <a:gd name="connsiteY2" fmla="*/ 157315 h 314629"/>
                <a:gd name="connsiteX3" fmla="*/ 0 w 2359742"/>
                <a:gd name="connsiteY3" fmla="*/ 157315 h 314629"/>
                <a:gd name="connsiteX4" fmla="*/ 157315 w 2359742"/>
                <a:gd name="connsiteY4" fmla="*/ 0 h 314629"/>
                <a:gd name="connsiteX5" fmla="*/ 2202428 w 2359742"/>
                <a:gd name="connsiteY5" fmla="*/ 0 h 314629"/>
                <a:gd name="connsiteX6" fmla="*/ 2359743 w 2359742"/>
                <a:gd name="connsiteY6" fmla="*/ 157315 h 314629"/>
                <a:gd name="connsiteX7" fmla="*/ 2359743 w 2359742"/>
                <a:gd name="connsiteY7" fmla="*/ 157315 h 314629"/>
                <a:gd name="connsiteX8" fmla="*/ 2202428 w 2359742"/>
                <a:gd name="connsiteY8" fmla="*/ 314630 h 3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742" h="314629">
                  <a:moveTo>
                    <a:pt x="2202428" y="314630"/>
                  </a:moveTo>
                  <a:lnTo>
                    <a:pt x="157315" y="314630"/>
                  </a:lnTo>
                  <a:cubicBezTo>
                    <a:pt x="70428" y="314630"/>
                    <a:pt x="0" y="244192"/>
                    <a:pt x="0" y="157315"/>
                  </a:cubicBezTo>
                  <a:lnTo>
                    <a:pt x="0" y="157315"/>
                  </a:lnTo>
                  <a:cubicBezTo>
                    <a:pt x="0" y="70428"/>
                    <a:pt x="70437" y="0"/>
                    <a:pt x="157315" y="0"/>
                  </a:cubicBezTo>
                  <a:lnTo>
                    <a:pt x="2202428" y="0"/>
                  </a:lnTo>
                  <a:cubicBezTo>
                    <a:pt x="2289315" y="0"/>
                    <a:pt x="2359743" y="70437"/>
                    <a:pt x="2359743" y="157315"/>
                  </a:cubicBezTo>
                  <a:lnTo>
                    <a:pt x="2359743" y="157315"/>
                  </a:lnTo>
                  <a:cubicBezTo>
                    <a:pt x="2359743" y="244192"/>
                    <a:pt x="2289305" y="314630"/>
                    <a:pt x="2202428" y="31463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grpSp>
          <p:nvGrpSpPr>
            <p:cNvPr id="313" name="Graphique 22">
              <a:extLst>
                <a:ext uri="{FF2B5EF4-FFF2-40B4-BE49-F238E27FC236}">
                  <a16:creationId xmlns:a16="http://schemas.microsoft.com/office/drawing/2014/main" id="{40855F33-3546-27DF-75BD-DB8F05656F92}"/>
                </a:ext>
              </a:extLst>
            </p:cNvPr>
            <p:cNvGrpSpPr/>
            <p:nvPr/>
          </p:nvGrpSpPr>
          <p:grpSpPr>
            <a:xfrm>
              <a:off x="5283203" y="1226562"/>
              <a:ext cx="1625593" cy="3932901"/>
              <a:chOff x="5283203" y="1226562"/>
              <a:chExt cx="1625593" cy="3932901"/>
            </a:xfrm>
            <a:solidFill>
              <a:srgbClr val="4B3F4E"/>
            </a:solidFill>
          </p:grpSpPr>
          <p:sp>
            <p:nvSpPr>
              <p:cNvPr id="337" name="Forme libre : forme 336">
                <a:extLst>
                  <a:ext uri="{FF2B5EF4-FFF2-40B4-BE49-F238E27FC236}">
                    <a16:creationId xmlns:a16="http://schemas.microsoft.com/office/drawing/2014/main" id="{BB8126B1-7C1C-6853-3425-D5A84EE49C8A}"/>
                  </a:ext>
                </a:extLst>
              </p:cNvPr>
              <p:cNvSpPr/>
              <p:nvPr/>
            </p:nvSpPr>
            <p:spPr>
              <a:xfrm>
                <a:off x="5283203" y="5002149"/>
                <a:ext cx="1625593" cy="157314"/>
              </a:xfrm>
              <a:custGeom>
                <a:avLst/>
                <a:gdLst>
                  <a:gd name="connsiteX0" fmla="*/ 1599381 w 1625593"/>
                  <a:gd name="connsiteY0" fmla="*/ 0 h 157314"/>
                  <a:gd name="connsiteX1" fmla="*/ 26213 w 1625593"/>
                  <a:gd name="connsiteY1" fmla="*/ 0 h 157314"/>
                  <a:gd name="connsiteX2" fmla="*/ 0 w 1625593"/>
                  <a:gd name="connsiteY2" fmla="*/ 157315 h 157314"/>
                  <a:gd name="connsiteX3" fmla="*/ 1625594 w 1625593"/>
                  <a:gd name="connsiteY3" fmla="*/ 157315 h 157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5593" h="157314">
                    <a:moveTo>
                      <a:pt x="1599381" y="0"/>
                    </a:moveTo>
                    <a:lnTo>
                      <a:pt x="26213" y="0"/>
                    </a:lnTo>
                    <a:lnTo>
                      <a:pt x="0" y="157315"/>
                    </a:lnTo>
                    <a:lnTo>
                      <a:pt x="1625594" y="15731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  <p:sp>
            <p:nvSpPr>
              <p:cNvPr id="338" name="Forme libre : forme 337">
                <a:extLst>
                  <a:ext uri="{FF2B5EF4-FFF2-40B4-BE49-F238E27FC236}">
                    <a16:creationId xmlns:a16="http://schemas.microsoft.com/office/drawing/2014/main" id="{49CD648B-9F79-1FD3-A11E-6C8EA364410B}"/>
                  </a:ext>
                </a:extLst>
              </p:cNvPr>
              <p:cNvSpPr/>
              <p:nvPr/>
            </p:nvSpPr>
            <p:spPr>
              <a:xfrm>
                <a:off x="5938685" y="1226562"/>
                <a:ext cx="314629" cy="314629"/>
              </a:xfrm>
              <a:custGeom>
                <a:avLst/>
                <a:gdLst>
                  <a:gd name="connsiteX0" fmla="*/ 314630 w 314629"/>
                  <a:gd name="connsiteY0" fmla="*/ 157315 h 314629"/>
                  <a:gd name="connsiteX1" fmla="*/ 157315 w 314629"/>
                  <a:gd name="connsiteY1" fmla="*/ 314630 h 314629"/>
                  <a:gd name="connsiteX2" fmla="*/ 0 w 314629"/>
                  <a:gd name="connsiteY2" fmla="*/ 157315 h 314629"/>
                  <a:gd name="connsiteX3" fmla="*/ 157315 w 314629"/>
                  <a:gd name="connsiteY3" fmla="*/ 0 h 314629"/>
                  <a:gd name="connsiteX4" fmla="*/ 314630 w 314629"/>
                  <a:gd name="connsiteY4" fmla="*/ 157315 h 31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629" h="314629">
                    <a:moveTo>
                      <a:pt x="314630" y="157315"/>
                    </a:moveTo>
                    <a:cubicBezTo>
                      <a:pt x="314630" y="244198"/>
                      <a:pt x="244197" y="314630"/>
                      <a:pt x="157315" y="314630"/>
                    </a:cubicBezTo>
                    <a:cubicBezTo>
                      <a:pt x="70432" y="314630"/>
                      <a:pt x="0" y="244198"/>
                      <a:pt x="0" y="157315"/>
                    </a:cubicBezTo>
                    <a:cubicBezTo>
                      <a:pt x="0" y="70432"/>
                      <a:pt x="70432" y="0"/>
                      <a:pt x="157315" y="0"/>
                    </a:cubicBezTo>
                    <a:cubicBezTo>
                      <a:pt x="244197" y="0"/>
                      <a:pt x="314630" y="70432"/>
                      <a:pt x="314630" y="157315"/>
                    </a:cubicBezTo>
                    <a:close/>
                  </a:path>
                </a:pathLst>
              </a:custGeom>
              <a:solidFill>
                <a:srgbClr val="4B3F4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</p:grpSp>
        <p:sp>
          <p:nvSpPr>
            <p:cNvPr id="314" name="Forme libre : forme 313">
              <a:extLst>
                <a:ext uri="{FF2B5EF4-FFF2-40B4-BE49-F238E27FC236}">
                  <a16:creationId xmlns:a16="http://schemas.microsoft.com/office/drawing/2014/main" id="{898F9A23-88A1-6DC9-AC8C-F2C8B0EBDB77}"/>
                </a:ext>
              </a:extLst>
            </p:cNvPr>
            <p:cNvSpPr/>
            <p:nvPr/>
          </p:nvSpPr>
          <p:spPr>
            <a:xfrm>
              <a:off x="6603444" y="2721063"/>
              <a:ext cx="1187538" cy="471954"/>
            </a:xfrm>
            <a:custGeom>
              <a:avLst/>
              <a:gdLst>
                <a:gd name="connsiteX0" fmla="*/ 1187539 w 1187538"/>
                <a:gd name="connsiteY0" fmla="*/ 471954 h 471954"/>
                <a:gd name="connsiteX1" fmla="*/ 1136066 w 1187538"/>
                <a:gd name="connsiteY1" fmla="*/ 428473 h 471954"/>
                <a:gd name="connsiteX2" fmla="*/ 794566 w 1187538"/>
                <a:gd name="connsiteY2" fmla="*/ 257718 h 471954"/>
                <a:gd name="connsiteX3" fmla="*/ 751084 w 1187538"/>
                <a:gd name="connsiteY3" fmla="*/ 187357 h 471954"/>
                <a:gd name="connsiteX4" fmla="*/ 751084 w 1187538"/>
                <a:gd name="connsiteY4" fmla="*/ 0 h 471954"/>
                <a:gd name="connsiteX5" fmla="*/ 436454 w 1187538"/>
                <a:gd name="connsiteY5" fmla="*/ 0 h 471954"/>
                <a:gd name="connsiteX6" fmla="*/ 436454 w 1187538"/>
                <a:gd name="connsiteY6" fmla="*/ 187357 h 471954"/>
                <a:gd name="connsiteX7" fmla="*/ 392973 w 1187538"/>
                <a:gd name="connsiteY7" fmla="*/ 257718 h 471954"/>
                <a:gd name="connsiteX8" fmla="*/ 51464 w 1187538"/>
                <a:gd name="connsiteY8" fmla="*/ 428473 h 471954"/>
                <a:gd name="connsiteX9" fmla="*/ 0 w 1187538"/>
                <a:gd name="connsiteY9" fmla="*/ 471954 h 471954"/>
                <a:gd name="connsiteX10" fmla="*/ 1187539 w 1187538"/>
                <a:gd name="connsiteY10" fmla="*/ 471954 h 47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7538" h="471954">
                  <a:moveTo>
                    <a:pt x="1187539" y="471954"/>
                  </a:moveTo>
                  <a:cubicBezTo>
                    <a:pt x="1173547" y="454419"/>
                    <a:pt x="1156878" y="438884"/>
                    <a:pt x="1136066" y="428473"/>
                  </a:cubicBezTo>
                  <a:lnTo>
                    <a:pt x="794566" y="257718"/>
                  </a:lnTo>
                  <a:cubicBezTo>
                    <a:pt x="767915" y="244393"/>
                    <a:pt x="751084" y="217151"/>
                    <a:pt x="751084" y="187357"/>
                  </a:cubicBezTo>
                  <a:lnTo>
                    <a:pt x="751084" y="0"/>
                  </a:lnTo>
                  <a:lnTo>
                    <a:pt x="436454" y="0"/>
                  </a:lnTo>
                  <a:lnTo>
                    <a:pt x="436454" y="187357"/>
                  </a:lnTo>
                  <a:cubicBezTo>
                    <a:pt x="436454" y="217151"/>
                    <a:pt x="419624" y="244383"/>
                    <a:pt x="392973" y="257718"/>
                  </a:cubicBezTo>
                  <a:lnTo>
                    <a:pt x="51464" y="428473"/>
                  </a:lnTo>
                  <a:cubicBezTo>
                    <a:pt x="30652" y="438884"/>
                    <a:pt x="13992" y="454409"/>
                    <a:pt x="0" y="471954"/>
                  </a:cubicBezTo>
                  <a:lnTo>
                    <a:pt x="1187539" y="471954"/>
                  </a:lnTo>
                  <a:close/>
                </a:path>
              </a:pathLst>
            </a:custGeom>
            <a:solidFill>
              <a:srgbClr val="FAD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5" name="Forme libre : forme 314">
              <a:extLst>
                <a:ext uri="{FF2B5EF4-FFF2-40B4-BE49-F238E27FC236}">
                  <a16:creationId xmlns:a16="http://schemas.microsoft.com/office/drawing/2014/main" id="{52F330E9-ADC9-891D-6167-CDE26C77FB68}"/>
                </a:ext>
              </a:extLst>
            </p:cNvPr>
            <p:cNvSpPr/>
            <p:nvPr/>
          </p:nvSpPr>
          <p:spPr>
            <a:xfrm>
              <a:off x="7037079" y="2721073"/>
              <a:ext cx="320287" cy="235972"/>
            </a:xfrm>
            <a:custGeom>
              <a:avLst/>
              <a:gdLst>
                <a:gd name="connsiteX0" fmla="*/ 160134 w 320287"/>
                <a:gd name="connsiteY0" fmla="*/ 235972 h 235972"/>
                <a:gd name="connsiteX1" fmla="*/ 320288 w 320287"/>
                <a:gd name="connsiteY1" fmla="*/ 207502 h 235972"/>
                <a:gd name="connsiteX2" fmla="*/ 317459 w 320287"/>
                <a:gd name="connsiteY2" fmla="*/ 187357 h 235972"/>
                <a:gd name="connsiteX3" fmla="*/ 317459 w 320287"/>
                <a:gd name="connsiteY3" fmla="*/ 0 h 235972"/>
                <a:gd name="connsiteX4" fmla="*/ 2829 w 320287"/>
                <a:gd name="connsiteY4" fmla="*/ 0 h 235972"/>
                <a:gd name="connsiteX5" fmla="*/ 2829 w 320287"/>
                <a:gd name="connsiteY5" fmla="*/ 187357 h 235972"/>
                <a:gd name="connsiteX6" fmla="*/ 0 w 320287"/>
                <a:gd name="connsiteY6" fmla="*/ 207502 h 235972"/>
                <a:gd name="connsiteX7" fmla="*/ 160134 w 320287"/>
                <a:gd name="connsiteY7" fmla="*/ 235972 h 235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287" h="235972">
                  <a:moveTo>
                    <a:pt x="160134" y="235972"/>
                  </a:moveTo>
                  <a:cubicBezTo>
                    <a:pt x="216446" y="235972"/>
                    <a:pt x="270205" y="225600"/>
                    <a:pt x="320288" y="207502"/>
                  </a:cubicBezTo>
                  <a:cubicBezTo>
                    <a:pt x="318564" y="201006"/>
                    <a:pt x="317459" y="194272"/>
                    <a:pt x="317459" y="187357"/>
                  </a:cubicBezTo>
                  <a:lnTo>
                    <a:pt x="317459" y="0"/>
                  </a:lnTo>
                  <a:lnTo>
                    <a:pt x="2829" y="0"/>
                  </a:lnTo>
                  <a:lnTo>
                    <a:pt x="2829" y="187357"/>
                  </a:lnTo>
                  <a:cubicBezTo>
                    <a:pt x="2829" y="194272"/>
                    <a:pt x="1724" y="201006"/>
                    <a:pt x="0" y="207502"/>
                  </a:cubicBezTo>
                  <a:cubicBezTo>
                    <a:pt x="50054" y="225590"/>
                    <a:pt x="103822" y="235972"/>
                    <a:pt x="160134" y="235972"/>
                  </a:cubicBezTo>
                  <a:close/>
                </a:path>
              </a:pathLst>
            </a:custGeom>
            <a:solidFill>
              <a:srgbClr val="F0C8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6" name="Forme libre : forme 315">
              <a:extLst>
                <a:ext uri="{FF2B5EF4-FFF2-40B4-BE49-F238E27FC236}">
                  <a16:creationId xmlns:a16="http://schemas.microsoft.com/office/drawing/2014/main" id="{BF02F2DD-E9BB-D308-9277-87801EC4396F}"/>
                </a:ext>
              </a:extLst>
            </p:cNvPr>
            <p:cNvSpPr/>
            <p:nvPr/>
          </p:nvSpPr>
          <p:spPr>
            <a:xfrm>
              <a:off x="6882583" y="2013146"/>
              <a:ext cx="629259" cy="786574"/>
            </a:xfrm>
            <a:custGeom>
              <a:avLst/>
              <a:gdLst>
                <a:gd name="connsiteX0" fmla="*/ 314630 w 629259"/>
                <a:gd name="connsiteY0" fmla="*/ 786575 h 786574"/>
                <a:gd name="connsiteX1" fmla="*/ 314630 w 629259"/>
                <a:gd name="connsiteY1" fmla="*/ 786575 h 786574"/>
                <a:gd name="connsiteX2" fmla="*/ 0 w 629259"/>
                <a:gd name="connsiteY2" fmla="*/ 471945 h 786574"/>
                <a:gd name="connsiteX3" fmla="*/ 0 w 629259"/>
                <a:gd name="connsiteY3" fmla="*/ 314630 h 786574"/>
                <a:gd name="connsiteX4" fmla="*/ 314630 w 629259"/>
                <a:gd name="connsiteY4" fmla="*/ 0 h 786574"/>
                <a:gd name="connsiteX5" fmla="*/ 314630 w 629259"/>
                <a:gd name="connsiteY5" fmla="*/ 0 h 786574"/>
                <a:gd name="connsiteX6" fmla="*/ 629260 w 629259"/>
                <a:gd name="connsiteY6" fmla="*/ 314630 h 786574"/>
                <a:gd name="connsiteX7" fmla="*/ 629260 w 629259"/>
                <a:gd name="connsiteY7" fmla="*/ 471945 h 786574"/>
                <a:gd name="connsiteX8" fmla="*/ 314630 w 629259"/>
                <a:gd name="connsiteY8" fmla="*/ 786575 h 78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259" h="786574">
                  <a:moveTo>
                    <a:pt x="314630" y="786575"/>
                  </a:moveTo>
                  <a:lnTo>
                    <a:pt x="314630" y="786575"/>
                  </a:lnTo>
                  <a:cubicBezTo>
                    <a:pt x="140865" y="786575"/>
                    <a:pt x="0" y="645709"/>
                    <a:pt x="0" y="471945"/>
                  </a:cubicBezTo>
                  <a:lnTo>
                    <a:pt x="0" y="314630"/>
                  </a:lnTo>
                  <a:cubicBezTo>
                    <a:pt x="0" y="140865"/>
                    <a:pt x="140865" y="0"/>
                    <a:pt x="314630" y="0"/>
                  </a:cubicBezTo>
                  <a:lnTo>
                    <a:pt x="314630" y="0"/>
                  </a:lnTo>
                  <a:cubicBezTo>
                    <a:pt x="488394" y="0"/>
                    <a:pt x="629260" y="140865"/>
                    <a:pt x="629260" y="314630"/>
                  </a:cubicBezTo>
                  <a:lnTo>
                    <a:pt x="629260" y="471945"/>
                  </a:lnTo>
                  <a:cubicBezTo>
                    <a:pt x="629260" y="645709"/>
                    <a:pt x="488394" y="786575"/>
                    <a:pt x="314630" y="786575"/>
                  </a:cubicBezTo>
                  <a:close/>
                </a:path>
              </a:pathLst>
            </a:custGeom>
            <a:solidFill>
              <a:srgbClr val="FFE1B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7" name="Forme libre : forme 316">
              <a:extLst>
                <a:ext uri="{FF2B5EF4-FFF2-40B4-BE49-F238E27FC236}">
                  <a16:creationId xmlns:a16="http://schemas.microsoft.com/office/drawing/2014/main" id="{89029BED-2C07-EB73-764A-BC94E50BFC7A}"/>
                </a:ext>
              </a:extLst>
            </p:cNvPr>
            <p:cNvSpPr/>
            <p:nvPr/>
          </p:nvSpPr>
          <p:spPr>
            <a:xfrm>
              <a:off x="6882583" y="2013146"/>
              <a:ext cx="341233" cy="786574"/>
            </a:xfrm>
            <a:custGeom>
              <a:avLst/>
              <a:gdLst>
                <a:gd name="connsiteX0" fmla="*/ 235973 w 341233"/>
                <a:gd name="connsiteY0" fmla="*/ 550602 h 786574"/>
                <a:gd name="connsiteX1" fmla="*/ 235973 w 341233"/>
                <a:gd name="connsiteY1" fmla="*/ 235972 h 786574"/>
                <a:gd name="connsiteX2" fmla="*/ 341233 w 341233"/>
                <a:gd name="connsiteY2" fmla="*/ 2677 h 786574"/>
                <a:gd name="connsiteX3" fmla="*/ 314630 w 341233"/>
                <a:gd name="connsiteY3" fmla="*/ 0 h 786574"/>
                <a:gd name="connsiteX4" fmla="*/ 0 w 341233"/>
                <a:gd name="connsiteY4" fmla="*/ 314630 h 786574"/>
                <a:gd name="connsiteX5" fmla="*/ 0 w 341233"/>
                <a:gd name="connsiteY5" fmla="*/ 471945 h 786574"/>
                <a:gd name="connsiteX6" fmla="*/ 314630 w 341233"/>
                <a:gd name="connsiteY6" fmla="*/ 786575 h 786574"/>
                <a:gd name="connsiteX7" fmla="*/ 341233 w 341233"/>
                <a:gd name="connsiteY7" fmla="*/ 783898 h 786574"/>
                <a:gd name="connsiteX8" fmla="*/ 235973 w 341233"/>
                <a:gd name="connsiteY8" fmla="*/ 550602 h 78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233" h="786574">
                  <a:moveTo>
                    <a:pt x="235973" y="550602"/>
                  </a:moveTo>
                  <a:lnTo>
                    <a:pt x="235973" y="235972"/>
                  </a:lnTo>
                  <a:cubicBezTo>
                    <a:pt x="235973" y="142970"/>
                    <a:pt x="277092" y="60274"/>
                    <a:pt x="341233" y="2677"/>
                  </a:cubicBezTo>
                  <a:cubicBezTo>
                    <a:pt x="332318" y="1915"/>
                    <a:pt x="323745" y="0"/>
                    <a:pt x="314630" y="0"/>
                  </a:cubicBezTo>
                  <a:cubicBezTo>
                    <a:pt x="140865" y="0"/>
                    <a:pt x="0" y="140865"/>
                    <a:pt x="0" y="314630"/>
                  </a:cubicBezTo>
                  <a:lnTo>
                    <a:pt x="0" y="471945"/>
                  </a:lnTo>
                  <a:cubicBezTo>
                    <a:pt x="0" y="645709"/>
                    <a:pt x="140865" y="786575"/>
                    <a:pt x="314630" y="786575"/>
                  </a:cubicBezTo>
                  <a:cubicBezTo>
                    <a:pt x="323745" y="786575"/>
                    <a:pt x="332318" y="784650"/>
                    <a:pt x="341233" y="783898"/>
                  </a:cubicBezTo>
                  <a:cubicBezTo>
                    <a:pt x="277082" y="726300"/>
                    <a:pt x="235973" y="643604"/>
                    <a:pt x="235973" y="550602"/>
                  </a:cubicBezTo>
                  <a:close/>
                </a:path>
              </a:pathLst>
            </a:custGeom>
            <a:solidFill>
              <a:srgbClr val="FAD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8" name="Forme libre : forme 317">
              <a:extLst>
                <a:ext uri="{FF2B5EF4-FFF2-40B4-BE49-F238E27FC236}">
                  <a16:creationId xmlns:a16="http://schemas.microsoft.com/office/drawing/2014/main" id="{4C88A166-B56D-E099-A2BC-B06353CA0404}"/>
                </a:ext>
              </a:extLst>
            </p:cNvPr>
            <p:cNvSpPr/>
            <p:nvPr/>
          </p:nvSpPr>
          <p:spPr>
            <a:xfrm>
              <a:off x="6882574" y="2013146"/>
              <a:ext cx="629269" cy="393287"/>
            </a:xfrm>
            <a:custGeom>
              <a:avLst/>
              <a:gdLst>
                <a:gd name="connsiteX0" fmla="*/ 629269 w 629269"/>
                <a:gd name="connsiteY0" fmla="*/ 393287 h 393287"/>
                <a:gd name="connsiteX1" fmla="*/ 0 w 629269"/>
                <a:gd name="connsiteY1" fmla="*/ 314630 h 393287"/>
                <a:gd name="connsiteX2" fmla="*/ 0 w 629269"/>
                <a:gd name="connsiteY2" fmla="*/ 314630 h 393287"/>
                <a:gd name="connsiteX3" fmla="*/ 314630 w 629269"/>
                <a:gd name="connsiteY3" fmla="*/ 0 h 393287"/>
                <a:gd name="connsiteX4" fmla="*/ 314630 w 629269"/>
                <a:gd name="connsiteY4" fmla="*/ 0 h 393287"/>
                <a:gd name="connsiteX5" fmla="*/ 629260 w 629269"/>
                <a:gd name="connsiteY5" fmla="*/ 314630 h 393287"/>
                <a:gd name="connsiteX6" fmla="*/ 629269 w 629269"/>
                <a:gd name="connsiteY6" fmla="*/ 393287 h 393287"/>
                <a:gd name="connsiteX7" fmla="*/ 629269 w 629269"/>
                <a:gd name="connsiteY7" fmla="*/ 393287 h 39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269" h="393287">
                  <a:moveTo>
                    <a:pt x="629269" y="393287"/>
                  </a:moveTo>
                  <a:cubicBezTo>
                    <a:pt x="314640" y="393287"/>
                    <a:pt x="0" y="314630"/>
                    <a:pt x="0" y="314630"/>
                  </a:cubicBezTo>
                  <a:lnTo>
                    <a:pt x="0" y="314630"/>
                  </a:lnTo>
                  <a:cubicBezTo>
                    <a:pt x="0" y="140865"/>
                    <a:pt x="140865" y="0"/>
                    <a:pt x="314630" y="0"/>
                  </a:cubicBezTo>
                  <a:lnTo>
                    <a:pt x="314630" y="0"/>
                  </a:lnTo>
                  <a:cubicBezTo>
                    <a:pt x="488395" y="0"/>
                    <a:pt x="629260" y="140865"/>
                    <a:pt x="629260" y="314630"/>
                  </a:cubicBezTo>
                  <a:lnTo>
                    <a:pt x="629269" y="393287"/>
                  </a:lnTo>
                  <a:lnTo>
                    <a:pt x="629269" y="393287"/>
                  </a:lnTo>
                  <a:close/>
                </a:path>
              </a:pathLst>
            </a:custGeom>
            <a:solidFill>
              <a:srgbClr val="AF876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19" name="Forme libre : forme 318">
              <a:extLst>
                <a:ext uri="{FF2B5EF4-FFF2-40B4-BE49-F238E27FC236}">
                  <a16:creationId xmlns:a16="http://schemas.microsoft.com/office/drawing/2014/main" id="{1E9B84A0-0E97-359C-B866-D3BCE1BE8AD7}"/>
                </a:ext>
              </a:extLst>
            </p:cNvPr>
            <p:cNvSpPr/>
            <p:nvPr/>
          </p:nvSpPr>
          <p:spPr>
            <a:xfrm>
              <a:off x="6882583" y="2013146"/>
              <a:ext cx="341233" cy="360226"/>
            </a:xfrm>
            <a:custGeom>
              <a:avLst/>
              <a:gdLst>
                <a:gd name="connsiteX0" fmla="*/ 341233 w 341233"/>
                <a:gd name="connsiteY0" fmla="*/ 2677 h 360226"/>
                <a:gd name="connsiteX1" fmla="*/ 314630 w 341233"/>
                <a:gd name="connsiteY1" fmla="*/ 0 h 360226"/>
                <a:gd name="connsiteX2" fmla="*/ 0 w 341233"/>
                <a:gd name="connsiteY2" fmla="*/ 314630 h 360226"/>
                <a:gd name="connsiteX3" fmla="*/ 235973 w 341233"/>
                <a:gd name="connsiteY3" fmla="*/ 360226 h 360226"/>
                <a:gd name="connsiteX4" fmla="*/ 235973 w 341233"/>
                <a:gd name="connsiteY4" fmla="*/ 235972 h 360226"/>
                <a:gd name="connsiteX5" fmla="*/ 341233 w 341233"/>
                <a:gd name="connsiteY5" fmla="*/ 2677 h 360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233" h="360226">
                  <a:moveTo>
                    <a:pt x="341233" y="2677"/>
                  </a:moveTo>
                  <a:cubicBezTo>
                    <a:pt x="332318" y="1915"/>
                    <a:pt x="323745" y="0"/>
                    <a:pt x="314630" y="0"/>
                  </a:cubicBezTo>
                  <a:cubicBezTo>
                    <a:pt x="140865" y="0"/>
                    <a:pt x="0" y="140865"/>
                    <a:pt x="0" y="314630"/>
                  </a:cubicBezTo>
                  <a:cubicBezTo>
                    <a:pt x="0" y="314630"/>
                    <a:pt x="96574" y="338709"/>
                    <a:pt x="235973" y="360226"/>
                  </a:cubicBezTo>
                  <a:lnTo>
                    <a:pt x="235973" y="235972"/>
                  </a:lnTo>
                  <a:cubicBezTo>
                    <a:pt x="235973" y="142970"/>
                    <a:pt x="277082" y="60274"/>
                    <a:pt x="341233" y="2677"/>
                  </a:cubicBezTo>
                  <a:close/>
                </a:path>
              </a:pathLst>
            </a:custGeom>
            <a:solidFill>
              <a:srgbClr val="A07B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grpSp>
          <p:nvGrpSpPr>
            <p:cNvPr id="320" name="Graphique 22">
              <a:extLst>
                <a:ext uri="{FF2B5EF4-FFF2-40B4-BE49-F238E27FC236}">
                  <a16:creationId xmlns:a16="http://schemas.microsoft.com/office/drawing/2014/main" id="{D1A77E57-55E2-FB42-966B-C4CBF274437F}"/>
                </a:ext>
              </a:extLst>
            </p:cNvPr>
            <p:cNvGrpSpPr/>
            <p:nvPr/>
          </p:nvGrpSpPr>
          <p:grpSpPr>
            <a:xfrm>
              <a:off x="6603444" y="3009480"/>
              <a:ext cx="1187538" cy="183537"/>
              <a:chOff x="6603444" y="3009480"/>
              <a:chExt cx="1187538" cy="183537"/>
            </a:xfrm>
            <a:solidFill>
              <a:srgbClr val="FFC850"/>
            </a:solidFill>
          </p:grpSpPr>
          <p:sp>
            <p:nvSpPr>
              <p:cNvPr id="335" name="Forme libre : forme 334">
                <a:extLst>
                  <a:ext uri="{FF2B5EF4-FFF2-40B4-BE49-F238E27FC236}">
                    <a16:creationId xmlns:a16="http://schemas.microsoft.com/office/drawing/2014/main" id="{FE66A009-E81C-D2A9-264D-7E3BAA44A93E}"/>
                  </a:ext>
                </a:extLst>
              </p:cNvPr>
              <p:cNvSpPr/>
              <p:nvPr/>
            </p:nvSpPr>
            <p:spPr>
              <a:xfrm>
                <a:off x="7275871" y="3009480"/>
                <a:ext cx="515111" cy="183537"/>
              </a:xfrm>
              <a:custGeom>
                <a:avLst/>
                <a:gdLst>
                  <a:gd name="connsiteX0" fmla="*/ 463639 w 515111"/>
                  <a:gd name="connsiteY0" fmla="*/ 140056 h 183537"/>
                  <a:gd name="connsiteX1" fmla="*/ 183537 w 515111"/>
                  <a:gd name="connsiteY1" fmla="*/ 0 h 183537"/>
                  <a:gd name="connsiteX2" fmla="*/ 0 w 515111"/>
                  <a:gd name="connsiteY2" fmla="*/ 183537 h 183537"/>
                  <a:gd name="connsiteX3" fmla="*/ 515112 w 515111"/>
                  <a:gd name="connsiteY3" fmla="*/ 183537 h 183537"/>
                  <a:gd name="connsiteX4" fmla="*/ 463639 w 515111"/>
                  <a:gd name="connsiteY4" fmla="*/ 140056 h 18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111" h="183537">
                    <a:moveTo>
                      <a:pt x="463639" y="140056"/>
                    </a:moveTo>
                    <a:lnTo>
                      <a:pt x="183537" y="0"/>
                    </a:lnTo>
                    <a:lnTo>
                      <a:pt x="0" y="183537"/>
                    </a:lnTo>
                    <a:lnTo>
                      <a:pt x="515112" y="183537"/>
                    </a:lnTo>
                    <a:cubicBezTo>
                      <a:pt x="501120" y="166002"/>
                      <a:pt x="484451" y="150457"/>
                      <a:pt x="463639" y="140056"/>
                    </a:cubicBezTo>
                    <a:close/>
                  </a:path>
                </a:pathLst>
              </a:custGeom>
              <a:solidFill>
                <a:srgbClr val="FF76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  <p:sp>
            <p:nvSpPr>
              <p:cNvPr id="336" name="Forme libre : forme 335">
                <a:extLst>
                  <a:ext uri="{FF2B5EF4-FFF2-40B4-BE49-F238E27FC236}">
                    <a16:creationId xmlns:a16="http://schemas.microsoft.com/office/drawing/2014/main" id="{67EED7B9-5226-EF72-1B07-355484DEAB77}"/>
                  </a:ext>
                </a:extLst>
              </p:cNvPr>
              <p:cNvSpPr/>
              <p:nvPr/>
            </p:nvSpPr>
            <p:spPr>
              <a:xfrm>
                <a:off x="6603444" y="3009480"/>
                <a:ext cx="515112" cy="183537"/>
              </a:xfrm>
              <a:custGeom>
                <a:avLst/>
                <a:gdLst>
                  <a:gd name="connsiteX0" fmla="*/ 515112 w 515112"/>
                  <a:gd name="connsiteY0" fmla="*/ 183537 h 183537"/>
                  <a:gd name="connsiteX1" fmla="*/ 331575 w 515112"/>
                  <a:gd name="connsiteY1" fmla="*/ 0 h 183537"/>
                  <a:gd name="connsiteX2" fmla="*/ 51464 w 515112"/>
                  <a:gd name="connsiteY2" fmla="*/ 140056 h 183537"/>
                  <a:gd name="connsiteX3" fmla="*/ 0 w 515112"/>
                  <a:gd name="connsiteY3" fmla="*/ 183537 h 183537"/>
                  <a:gd name="connsiteX4" fmla="*/ 515112 w 515112"/>
                  <a:gd name="connsiteY4" fmla="*/ 183537 h 18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112" h="183537">
                    <a:moveTo>
                      <a:pt x="515112" y="183537"/>
                    </a:moveTo>
                    <a:lnTo>
                      <a:pt x="331575" y="0"/>
                    </a:lnTo>
                    <a:lnTo>
                      <a:pt x="51464" y="140056"/>
                    </a:lnTo>
                    <a:cubicBezTo>
                      <a:pt x="30652" y="150457"/>
                      <a:pt x="13992" y="166002"/>
                      <a:pt x="0" y="183537"/>
                    </a:cubicBezTo>
                    <a:lnTo>
                      <a:pt x="515112" y="183537"/>
                    </a:lnTo>
                    <a:close/>
                  </a:path>
                </a:pathLst>
              </a:custGeom>
              <a:solidFill>
                <a:srgbClr val="FF76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</p:grpSp>
        <p:sp>
          <p:nvSpPr>
            <p:cNvPr id="321" name="Forme libre : forme 320">
              <a:extLst>
                <a:ext uri="{FF2B5EF4-FFF2-40B4-BE49-F238E27FC236}">
                  <a16:creationId xmlns:a16="http://schemas.microsoft.com/office/drawing/2014/main" id="{62E223D6-61CC-12C0-96BB-2BD525A0748B}"/>
                </a:ext>
              </a:extLst>
            </p:cNvPr>
            <p:cNvSpPr/>
            <p:nvPr/>
          </p:nvSpPr>
          <p:spPr>
            <a:xfrm>
              <a:off x="6603444" y="4215565"/>
              <a:ext cx="1187538" cy="471954"/>
            </a:xfrm>
            <a:custGeom>
              <a:avLst/>
              <a:gdLst>
                <a:gd name="connsiteX0" fmla="*/ 1187539 w 1187538"/>
                <a:gd name="connsiteY0" fmla="*/ 471954 h 471954"/>
                <a:gd name="connsiteX1" fmla="*/ 1136066 w 1187538"/>
                <a:gd name="connsiteY1" fmla="*/ 428472 h 471954"/>
                <a:gd name="connsiteX2" fmla="*/ 794566 w 1187538"/>
                <a:gd name="connsiteY2" fmla="*/ 257718 h 471954"/>
                <a:gd name="connsiteX3" fmla="*/ 751084 w 1187538"/>
                <a:gd name="connsiteY3" fmla="*/ 187357 h 471954"/>
                <a:gd name="connsiteX4" fmla="*/ 751084 w 1187538"/>
                <a:gd name="connsiteY4" fmla="*/ 0 h 471954"/>
                <a:gd name="connsiteX5" fmla="*/ 436454 w 1187538"/>
                <a:gd name="connsiteY5" fmla="*/ 0 h 471954"/>
                <a:gd name="connsiteX6" fmla="*/ 436454 w 1187538"/>
                <a:gd name="connsiteY6" fmla="*/ 187357 h 471954"/>
                <a:gd name="connsiteX7" fmla="*/ 392973 w 1187538"/>
                <a:gd name="connsiteY7" fmla="*/ 257718 h 471954"/>
                <a:gd name="connsiteX8" fmla="*/ 51464 w 1187538"/>
                <a:gd name="connsiteY8" fmla="*/ 428472 h 471954"/>
                <a:gd name="connsiteX9" fmla="*/ 0 w 1187538"/>
                <a:gd name="connsiteY9" fmla="*/ 471954 h 471954"/>
                <a:gd name="connsiteX10" fmla="*/ 1187539 w 1187538"/>
                <a:gd name="connsiteY10" fmla="*/ 471954 h 47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7538" h="471954">
                  <a:moveTo>
                    <a:pt x="1187539" y="471954"/>
                  </a:moveTo>
                  <a:cubicBezTo>
                    <a:pt x="1173547" y="454418"/>
                    <a:pt x="1156878" y="438883"/>
                    <a:pt x="1136066" y="428472"/>
                  </a:cubicBezTo>
                  <a:lnTo>
                    <a:pt x="794566" y="257718"/>
                  </a:lnTo>
                  <a:cubicBezTo>
                    <a:pt x="767915" y="244392"/>
                    <a:pt x="751084" y="217151"/>
                    <a:pt x="751084" y="187357"/>
                  </a:cubicBezTo>
                  <a:lnTo>
                    <a:pt x="751084" y="0"/>
                  </a:lnTo>
                  <a:lnTo>
                    <a:pt x="436454" y="0"/>
                  </a:lnTo>
                  <a:lnTo>
                    <a:pt x="436454" y="187357"/>
                  </a:lnTo>
                  <a:cubicBezTo>
                    <a:pt x="436454" y="217151"/>
                    <a:pt x="419624" y="244383"/>
                    <a:pt x="392973" y="257718"/>
                  </a:cubicBezTo>
                  <a:lnTo>
                    <a:pt x="51464" y="428472"/>
                  </a:lnTo>
                  <a:cubicBezTo>
                    <a:pt x="30652" y="438883"/>
                    <a:pt x="13992" y="454409"/>
                    <a:pt x="0" y="471954"/>
                  </a:cubicBezTo>
                  <a:lnTo>
                    <a:pt x="1187539" y="471954"/>
                  </a:lnTo>
                  <a:close/>
                </a:path>
              </a:pathLst>
            </a:custGeom>
            <a:solidFill>
              <a:srgbClr val="B487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22" name="Forme libre : forme 321">
              <a:extLst>
                <a:ext uri="{FF2B5EF4-FFF2-40B4-BE49-F238E27FC236}">
                  <a16:creationId xmlns:a16="http://schemas.microsoft.com/office/drawing/2014/main" id="{A144E282-C9E6-0B1D-5CF8-33054824C63C}"/>
                </a:ext>
              </a:extLst>
            </p:cNvPr>
            <p:cNvSpPr/>
            <p:nvPr/>
          </p:nvSpPr>
          <p:spPr>
            <a:xfrm>
              <a:off x="7037079" y="4215574"/>
              <a:ext cx="320287" cy="235972"/>
            </a:xfrm>
            <a:custGeom>
              <a:avLst/>
              <a:gdLst>
                <a:gd name="connsiteX0" fmla="*/ 160134 w 320287"/>
                <a:gd name="connsiteY0" fmla="*/ 235973 h 235972"/>
                <a:gd name="connsiteX1" fmla="*/ 320288 w 320287"/>
                <a:gd name="connsiteY1" fmla="*/ 207502 h 235972"/>
                <a:gd name="connsiteX2" fmla="*/ 317459 w 320287"/>
                <a:gd name="connsiteY2" fmla="*/ 187357 h 235972"/>
                <a:gd name="connsiteX3" fmla="*/ 317459 w 320287"/>
                <a:gd name="connsiteY3" fmla="*/ 0 h 235972"/>
                <a:gd name="connsiteX4" fmla="*/ 2829 w 320287"/>
                <a:gd name="connsiteY4" fmla="*/ 0 h 235972"/>
                <a:gd name="connsiteX5" fmla="*/ 2829 w 320287"/>
                <a:gd name="connsiteY5" fmla="*/ 187357 h 235972"/>
                <a:gd name="connsiteX6" fmla="*/ 0 w 320287"/>
                <a:gd name="connsiteY6" fmla="*/ 207502 h 235972"/>
                <a:gd name="connsiteX7" fmla="*/ 160134 w 320287"/>
                <a:gd name="connsiteY7" fmla="*/ 235973 h 235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287" h="235972">
                  <a:moveTo>
                    <a:pt x="160134" y="235973"/>
                  </a:moveTo>
                  <a:cubicBezTo>
                    <a:pt x="216446" y="235973"/>
                    <a:pt x="270205" y="225600"/>
                    <a:pt x="320288" y="207502"/>
                  </a:cubicBezTo>
                  <a:cubicBezTo>
                    <a:pt x="318564" y="201006"/>
                    <a:pt x="317459" y="194272"/>
                    <a:pt x="317459" y="187357"/>
                  </a:cubicBezTo>
                  <a:lnTo>
                    <a:pt x="317459" y="0"/>
                  </a:lnTo>
                  <a:lnTo>
                    <a:pt x="2829" y="0"/>
                  </a:lnTo>
                  <a:lnTo>
                    <a:pt x="2829" y="187357"/>
                  </a:lnTo>
                  <a:cubicBezTo>
                    <a:pt x="2829" y="194272"/>
                    <a:pt x="1724" y="201006"/>
                    <a:pt x="0" y="207502"/>
                  </a:cubicBezTo>
                  <a:cubicBezTo>
                    <a:pt x="50054" y="225600"/>
                    <a:pt x="103822" y="235973"/>
                    <a:pt x="160134" y="235973"/>
                  </a:cubicBezTo>
                  <a:close/>
                </a:path>
              </a:pathLst>
            </a:custGeom>
            <a:solidFill>
              <a:srgbClr val="966D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23" name="Forme libre : forme 322">
              <a:extLst>
                <a:ext uri="{FF2B5EF4-FFF2-40B4-BE49-F238E27FC236}">
                  <a16:creationId xmlns:a16="http://schemas.microsoft.com/office/drawing/2014/main" id="{2951C95E-8DA9-A362-2158-470433B14861}"/>
                </a:ext>
              </a:extLst>
            </p:cNvPr>
            <p:cNvSpPr/>
            <p:nvPr/>
          </p:nvSpPr>
          <p:spPr>
            <a:xfrm>
              <a:off x="6882583" y="3507647"/>
              <a:ext cx="629259" cy="786584"/>
            </a:xfrm>
            <a:custGeom>
              <a:avLst/>
              <a:gdLst>
                <a:gd name="connsiteX0" fmla="*/ 314630 w 629259"/>
                <a:gd name="connsiteY0" fmla="*/ 786584 h 786584"/>
                <a:gd name="connsiteX1" fmla="*/ 314630 w 629259"/>
                <a:gd name="connsiteY1" fmla="*/ 786584 h 786584"/>
                <a:gd name="connsiteX2" fmla="*/ 0 w 629259"/>
                <a:gd name="connsiteY2" fmla="*/ 471954 h 786584"/>
                <a:gd name="connsiteX3" fmla="*/ 0 w 629259"/>
                <a:gd name="connsiteY3" fmla="*/ 314630 h 786584"/>
                <a:gd name="connsiteX4" fmla="*/ 314630 w 629259"/>
                <a:gd name="connsiteY4" fmla="*/ 0 h 786584"/>
                <a:gd name="connsiteX5" fmla="*/ 314630 w 629259"/>
                <a:gd name="connsiteY5" fmla="*/ 0 h 786584"/>
                <a:gd name="connsiteX6" fmla="*/ 629260 w 629259"/>
                <a:gd name="connsiteY6" fmla="*/ 314630 h 786584"/>
                <a:gd name="connsiteX7" fmla="*/ 629260 w 629259"/>
                <a:gd name="connsiteY7" fmla="*/ 471945 h 786584"/>
                <a:gd name="connsiteX8" fmla="*/ 314630 w 629259"/>
                <a:gd name="connsiteY8" fmla="*/ 786584 h 78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259" h="786584">
                  <a:moveTo>
                    <a:pt x="314630" y="786584"/>
                  </a:moveTo>
                  <a:lnTo>
                    <a:pt x="314630" y="786584"/>
                  </a:lnTo>
                  <a:cubicBezTo>
                    <a:pt x="140865" y="786584"/>
                    <a:pt x="0" y="645719"/>
                    <a:pt x="0" y="471954"/>
                  </a:cubicBezTo>
                  <a:lnTo>
                    <a:pt x="0" y="314630"/>
                  </a:lnTo>
                  <a:cubicBezTo>
                    <a:pt x="0" y="140865"/>
                    <a:pt x="140865" y="0"/>
                    <a:pt x="314630" y="0"/>
                  </a:cubicBezTo>
                  <a:lnTo>
                    <a:pt x="314630" y="0"/>
                  </a:lnTo>
                  <a:cubicBezTo>
                    <a:pt x="488394" y="0"/>
                    <a:pt x="629260" y="140865"/>
                    <a:pt x="629260" y="314630"/>
                  </a:cubicBezTo>
                  <a:lnTo>
                    <a:pt x="629260" y="471945"/>
                  </a:lnTo>
                  <a:cubicBezTo>
                    <a:pt x="629260" y="645719"/>
                    <a:pt x="488394" y="786584"/>
                    <a:pt x="314630" y="786584"/>
                  </a:cubicBezTo>
                  <a:close/>
                </a:path>
              </a:pathLst>
            </a:custGeom>
            <a:solidFill>
              <a:srgbClr val="C3977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24" name="Forme libre : forme 323">
              <a:extLst>
                <a:ext uri="{FF2B5EF4-FFF2-40B4-BE49-F238E27FC236}">
                  <a16:creationId xmlns:a16="http://schemas.microsoft.com/office/drawing/2014/main" id="{689586C9-E87C-BE39-73B3-E634DF82B3A1}"/>
                </a:ext>
              </a:extLst>
            </p:cNvPr>
            <p:cNvSpPr/>
            <p:nvPr/>
          </p:nvSpPr>
          <p:spPr>
            <a:xfrm>
              <a:off x="6882583" y="3507647"/>
              <a:ext cx="341233" cy="786574"/>
            </a:xfrm>
            <a:custGeom>
              <a:avLst/>
              <a:gdLst>
                <a:gd name="connsiteX0" fmla="*/ 235973 w 341233"/>
                <a:gd name="connsiteY0" fmla="*/ 550602 h 786574"/>
                <a:gd name="connsiteX1" fmla="*/ 235973 w 341233"/>
                <a:gd name="connsiteY1" fmla="*/ 235973 h 786574"/>
                <a:gd name="connsiteX2" fmla="*/ 341233 w 341233"/>
                <a:gd name="connsiteY2" fmla="*/ 2677 h 786574"/>
                <a:gd name="connsiteX3" fmla="*/ 314630 w 341233"/>
                <a:gd name="connsiteY3" fmla="*/ 0 h 786574"/>
                <a:gd name="connsiteX4" fmla="*/ 0 w 341233"/>
                <a:gd name="connsiteY4" fmla="*/ 314630 h 786574"/>
                <a:gd name="connsiteX5" fmla="*/ 0 w 341233"/>
                <a:gd name="connsiteY5" fmla="*/ 471945 h 786574"/>
                <a:gd name="connsiteX6" fmla="*/ 314630 w 341233"/>
                <a:gd name="connsiteY6" fmla="*/ 786575 h 786574"/>
                <a:gd name="connsiteX7" fmla="*/ 341233 w 341233"/>
                <a:gd name="connsiteY7" fmla="*/ 783898 h 786574"/>
                <a:gd name="connsiteX8" fmla="*/ 235973 w 341233"/>
                <a:gd name="connsiteY8" fmla="*/ 550602 h 78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233" h="786574">
                  <a:moveTo>
                    <a:pt x="235973" y="550602"/>
                  </a:moveTo>
                  <a:lnTo>
                    <a:pt x="235973" y="235973"/>
                  </a:lnTo>
                  <a:cubicBezTo>
                    <a:pt x="235973" y="142970"/>
                    <a:pt x="277092" y="60274"/>
                    <a:pt x="341233" y="2677"/>
                  </a:cubicBezTo>
                  <a:cubicBezTo>
                    <a:pt x="332318" y="1915"/>
                    <a:pt x="323745" y="0"/>
                    <a:pt x="314630" y="0"/>
                  </a:cubicBezTo>
                  <a:cubicBezTo>
                    <a:pt x="140865" y="0"/>
                    <a:pt x="0" y="140865"/>
                    <a:pt x="0" y="314630"/>
                  </a:cubicBezTo>
                  <a:lnTo>
                    <a:pt x="0" y="471945"/>
                  </a:lnTo>
                  <a:cubicBezTo>
                    <a:pt x="0" y="645709"/>
                    <a:pt x="140865" y="786575"/>
                    <a:pt x="314630" y="786575"/>
                  </a:cubicBezTo>
                  <a:cubicBezTo>
                    <a:pt x="323745" y="786575"/>
                    <a:pt x="332318" y="784651"/>
                    <a:pt x="341233" y="783898"/>
                  </a:cubicBezTo>
                  <a:cubicBezTo>
                    <a:pt x="277082" y="726310"/>
                    <a:pt x="235973" y="643604"/>
                    <a:pt x="235973" y="550602"/>
                  </a:cubicBezTo>
                  <a:close/>
                </a:path>
              </a:pathLst>
            </a:custGeom>
            <a:solidFill>
              <a:srgbClr val="B487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25" name="Forme libre : forme 324">
              <a:extLst>
                <a:ext uri="{FF2B5EF4-FFF2-40B4-BE49-F238E27FC236}">
                  <a16:creationId xmlns:a16="http://schemas.microsoft.com/office/drawing/2014/main" id="{6152927D-C1C4-F958-B895-4B92B4D91752}"/>
                </a:ext>
              </a:extLst>
            </p:cNvPr>
            <p:cNvSpPr/>
            <p:nvPr/>
          </p:nvSpPr>
          <p:spPr>
            <a:xfrm>
              <a:off x="6882574" y="3507647"/>
              <a:ext cx="629269" cy="393287"/>
            </a:xfrm>
            <a:custGeom>
              <a:avLst/>
              <a:gdLst>
                <a:gd name="connsiteX0" fmla="*/ 629269 w 629269"/>
                <a:gd name="connsiteY0" fmla="*/ 393287 h 393287"/>
                <a:gd name="connsiteX1" fmla="*/ 0 w 629269"/>
                <a:gd name="connsiteY1" fmla="*/ 314630 h 393287"/>
                <a:gd name="connsiteX2" fmla="*/ 0 w 629269"/>
                <a:gd name="connsiteY2" fmla="*/ 314630 h 393287"/>
                <a:gd name="connsiteX3" fmla="*/ 314630 w 629269"/>
                <a:gd name="connsiteY3" fmla="*/ 0 h 393287"/>
                <a:gd name="connsiteX4" fmla="*/ 314630 w 629269"/>
                <a:gd name="connsiteY4" fmla="*/ 0 h 393287"/>
                <a:gd name="connsiteX5" fmla="*/ 629260 w 629269"/>
                <a:gd name="connsiteY5" fmla="*/ 314630 h 393287"/>
                <a:gd name="connsiteX6" fmla="*/ 629269 w 629269"/>
                <a:gd name="connsiteY6" fmla="*/ 393287 h 393287"/>
                <a:gd name="connsiteX7" fmla="*/ 629269 w 629269"/>
                <a:gd name="connsiteY7" fmla="*/ 393287 h 39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269" h="393287">
                  <a:moveTo>
                    <a:pt x="629269" y="393287"/>
                  </a:moveTo>
                  <a:cubicBezTo>
                    <a:pt x="314640" y="393287"/>
                    <a:pt x="0" y="314630"/>
                    <a:pt x="0" y="314630"/>
                  </a:cubicBezTo>
                  <a:lnTo>
                    <a:pt x="0" y="314630"/>
                  </a:lnTo>
                  <a:cubicBezTo>
                    <a:pt x="0" y="140865"/>
                    <a:pt x="140865" y="0"/>
                    <a:pt x="314630" y="0"/>
                  </a:cubicBezTo>
                  <a:lnTo>
                    <a:pt x="314630" y="0"/>
                  </a:lnTo>
                  <a:cubicBezTo>
                    <a:pt x="488395" y="0"/>
                    <a:pt x="629260" y="140865"/>
                    <a:pt x="629260" y="314630"/>
                  </a:cubicBezTo>
                  <a:lnTo>
                    <a:pt x="629269" y="393287"/>
                  </a:lnTo>
                  <a:lnTo>
                    <a:pt x="629269" y="393287"/>
                  </a:lnTo>
                  <a:close/>
                </a:path>
              </a:pathLst>
            </a:custGeom>
            <a:solidFill>
              <a:srgbClr val="5C414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sp>
          <p:nvSpPr>
            <p:cNvPr id="326" name="Forme libre : forme 325">
              <a:extLst>
                <a:ext uri="{FF2B5EF4-FFF2-40B4-BE49-F238E27FC236}">
                  <a16:creationId xmlns:a16="http://schemas.microsoft.com/office/drawing/2014/main" id="{9BDF88A8-C222-E668-50D5-FB79F73D9FD1}"/>
                </a:ext>
              </a:extLst>
            </p:cNvPr>
            <p:cNvSpPr/>
            <p:nvPr/>
          </p:nvSpPr>
          <p:spPr>
            <a:xfrm>
              <a:off x="6882583" y="3507647"/>
              <a:ext cx="341233" cy="360225"/>
            </a:xfrm>
            <a:custGeom>
              <a:avLst/>
              <a:gdLst>
                <a:gd name="connsiteX0" fmla="*/ 341233 w 341233"/>
                <a:gd name="connsiteY0" fmla="*/ 2677 h 360225"/>
                <a:gd name="connsiteX1" fmla="*/ 314630 w 341233"/>
                <a:gd name="connsiteY1" fmla="*/ 0 h 360225"/>
                <a:gd name="connsiteX2" fmla="*/ 0 w 341233"/>
                <a:gd name="connsiteY2" fmla="*/ 314630 h 360225"/>
                <a:gd name="connsiteX3" fmla="*/ 235973 w 341233"/>
                <a:gd name="connsiteY3" fmla="*/ 360226 h 360225"/>
                <a:gd name="connsiteX4" fmla="*/ 235973 w 341233"/>
                <a:gd name="connsiteY4" fmla="*/ 235973 h 360225"/>
                <a:gd name="connsiteX5" fmla="*/ 341233 w 341233"/>
                <a:gd name="connsiteY5" fmla="*/ 2677 h 36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233" h="360225">
                  <a:moveTo>
                    <a:pt x="341233" y="2677"/>
                  </a:moveTo>
                  <a:cubicBezTo>
                    <a:pt x="332318" y="1915"/>
                    <a:pt x="323745" y="0"/>
                    <a:pt x="314630" y="0"/>
                  </a:cubicBezTo>
                  <a:cubicBezTo>
                    <a:pt x="140865" y="0"/>
                    <a:pt x="0" y="140865"/>
                    <a:pt x="0" y="314630"/>
                  </a:cubicBezTo>
                  <a:cubicBezTo>
                    <a:pt x="0" y="314630"/>
                    <a:pt x="96574" y="338709"/>
                    <a:pt x="235973" y="360226"/>
                  </a:cubicBezTo>
                  <a:lnTo>
                    <a:pt x="235973" y="235973"/>
                  </a:lnTo>
                  <a:cubicBezTo>
                    <a:pt x="235973" y="142980"/>
                    <a:pt x="277082" y="60284"/>
                    <a:pt x="341233" y="2677"/>
                  </a:cubicBezTo>
                  <a:close/>
                </a:path>
              </a:pathLst>
            </a:custGeom>
            <a:solidFill>
              <a:srgbClr val="50344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  <p:grpSp>
          <p:nvGrpSpPr>
            <p:cNvPr id="327" name="Graphique 22">
              <a:extLst>
                <a:ext uri="{FF2B5EF4-FFF2-40B4-BE49-F238E27FC236}">
                  <a16:creationId xmlns:a16="http://schemas.microsoft.com/office/drawing/2014/main" id="{3E78D33A-0E07-739A-9DA3-58C245D6F4F2}"/>
                </a:ext>
              </a:extLst>
            </p:cNvPr>
            <p:cNvGrpSpPr/>
            <p:nvPr/>
          </p:nvGrpSpPr>
          <p:grpSpPr>
            <a:xfrm>
              <a:off x="6603444" y="4503982"/>
              <a:ext cx="1187538" cy="183537"/>
              <a:chOff x="6603444" y="4503982"/>
              <a:chExt cx="1187538" cy="183537"/>
            </a:xfrm>
            <a:solidFill>
              <a:srgbClr val="AFD755"/>
            </a:solidFill>
          </p:grpSpPr>
          <p:sp>
            <p:nvSpPr>
              <p:cNvPr id="333" name="Forme libre : forme 332">
                <a:extLst>
                  <a:ext uri="{FF2B5EF4-FFF2-40B4-BE49-F238E27FC236}">
                    <a16:creationId xmlns:a16="http://schemas.microsoft.com/office/drawing/2014/main" id="{20EB92A1-637C-27C6-3E49-CEF11E23411E}"/>
                  </a:ext>
                </a:extLst>
              </p:cNvPr>
              <p:cNvSpPr/>
              <p:nvPr/>
            </p:nvSpPr>
            <p:spPr>
              <a:xfrm>
                <a:off x="7275871" y="4503982"/>
                <a:ext cx="515111" cy="183537"/>
              </a:xfrm>
              <a:custGeom>
                <a:avLst/>
                <a:gdLst>
                  <a:gd name="connsiteX0" fmla="*/ 463639 w 515111"/>
                  <a:gd name="connsiteY0" fmla="*/ 140055 h 183537"/>
                  <a:gd name="connsiteX1" fmla="*/ 183537 w 515111"/>
                  <a:gd name="connsiteY1" fmla="*/ 0 h 183537"/>
                  <a:gd name="connsiteX2" fmla="*/ 0 w 515111"/>
                  <a:gd name="connsiteY2" fmla="*/ 183537 h 183537"/>
                  <a:gd name="connsiteX3" fmla="*/ 515112 w 515111"/>
                  <a:gd name="connsiteY3" fmla="*/ 183537 h 183537"/>
                  <a:gd name="connsiteX4" fmla="*/ 463639 w 515111"/>
                  <a:gd name="connsiteY4" fmla="*/ 140055 h 18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111" h="183537">
                    <a:moveTo>
                      <a:pt x="463639" y="140055"/>
                    </a:moveTo>
                    <a:lnTo>
                      <a:pt x="183537" y="0"/>
                    </a:lnTo>
                    <a:lnTo>
                      <a:pt x="0" y="183537"/>
                    </a:lnTo>
                    <a:lnTo>
                      <a:pt x="515112" y="183537"/>
                    </a:lnTo>
                    <a:cubicBezTo>
                      <a:pt x="501120" y="166002"/>
                      <a:pt x="484451" y="150466"/>
                      <a:pt x="463639" y="140055"/>
                    </a:cubicBezTo>
                    <a:close/>
                  </a:path>
                </a:pathLst>
              </a:custGeom>
              <a:solidFill>
                <a:srgbClr val="FE8B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  <p:sp>
            <p:nvSpPr>
              <p:cNvPr id="334" name="Forme libre : forme 333">
                <a:extLst>
                  <a:ext uri="{FF2B5EF4-FFF2-40B4-BE49-F238E27FC236}">
                    <a16:creationId xmlns:a16="http://schemas.microsoft.com/office/drawing/2014/main" id="{BA10EB18-5593-02A2-8139-6373AF5A89CA}"/>
                  </a:ext>
                </a:extLst>
              </p:cNvPr>
              <p:cNvSpPr/>
              <p:nvPr/>
            </p:nvSpPr>
            <p:spPr>
              <a:xfrm>
                <a:off x="6603444" y="4503982"/>
                <a:ext cx="515112" cy="183537"/>
              </a:xfrm>
              <a:custGeom>
                <a:avLst/>
                <a:gdLst>
                  <a:gd name="connsiteX0" fmla="*/ 515112 w 515112"/>
                  <a:gd name="connsiteY0" fmla="*/ 183537 h 183537"/>
                  <a:gd name="connsiteX1" fmla="*/ 331575 w 515112"/>
                  <a:gd name="connsiteY1" fmla="*/ 0 h 183537"/>
                  <a:gd name="connsiteX2" fmla="*/ 51464 w 515112"/>
                  <a:gd name="connsiteY2" fmla="*/ 140055 h 183537"/>
                  <a:gd name="connsiteX3" fmla="*/ 0 w 515112"/>
                  <a:gd name="connsiteY3" fmla="*/ 183537 h 183537"/>
                  <a:gd name="connsiteX4" fmla="*/ 515112 w 515112"/>
                  <a:gd name="connsiteY4" fmla="*/ 183537 h 18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112" h="183537">
                    <a:moveTo>
                      <a:pt x="515112" y="183537"/>
                    </a:moveTo>
                    <a:lnTo>
                      <a:pt x="331575" y="0"/>
                    </a:lnTo>
                    <a:lnTo>
                      <a:pt x="51464" y="140055"/>
                    </a:lnTo>
                    <a:cubicBezTo>
                      <a:pt x="30652" y="150457"/>
                      <a:pt x="13992" y="166002"/>
                      <a:pt x="0" y="183537"/>
                    </a:cubicBezTo>
                    <a:lnTo>
                      <a:pt x="515112" y="183537"/>
                    </a:lnTo>
                    <a:close/>
                  </a:path>
                </a:pathLst>
              </a:custGeom>
              <a:solidFill>
                <a:srgbClr val="FE8B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</p:grpSp>
        <p:grpSp>
          <p:nvGrpSpPr>
            <p:cNvPr id="328" name="Graphique 22">
              <a:extLst>
                <a:ext uri="{FF2B5EF4-FFF2-40B4-BE49-F238E27FC236}">
                  <a16:creationId xmlns:a16="http://schemas.microsoft.com/office/drawing/2014/main" id="{8B436A2F-8AE3-5B64-7B56-06D8A5070D66}"/>
                </a:ext>
              </a:extLst>
            </p:cNvPr>
            <p:cNvGrpSpPr/>
            <p:nvPr/>
          </p:nvGrpSpPr>
          <p:grpSpPr>
            <a:xfrm>
              <a:off x="4365517" y="3971325"/>
              <a:ext cx="1415862" cy="716194"/>
              <a:chOff x="4365517" y="3971325"/>
              <a:chExt cx="1415862" cy="716194"/>
            </a:xfrm>
            <a:solidFill>
              <a:srgbClr val="00C3FF"/>
            </a:solidFill>
          </p:grpSpPr>
          <p:sp>
            <p:nvSpPr>
              <p:cNvPr id="330" name="Forme libre : forme 329">
                <a:extLst>
                  <a:ext uri="{FF2B5EF4-FFF2-40B4-BE49-F238E27FC236}">
                    <a16:creationId xmlns:a16="http://schemas.microsoft.com/office/drawing/2014/main" id="{E2793250-D588-6064-1C16-FA8E422485C4}"/>
                  </a:ext>
                </a:extLst>
              </p:cNvPr>
              <p:cNvSpPr/>
              <p:nvPr/>
            </p:nvSpPr>
            <p:spPr>
              <a:xfrm>
                <a:off x="4994786" y="3971325"/>
                <a:ext cx="157314" cy="716194"/>
              </a:xfrm>
              <a:custGeom>
                <a:avLst/>
                <a:gdLst>
                  <a:gd name="connsiteX0" fmla="*/ 0 w 157314"/>
                  <a:gd name="connsiteY0" fmla="*/ 0 h 716194"/>
                  <a:gd name="connsiteX1" fmla="*/ 0 w 157314"/>
                  <a:gd name="connsiteY1" fmla="*/ 716194 h 716194"/>
                  <a:gd name="connsiteX2" fmla="*/ 157315 w 157314"/>
                  <a:gd name="connsiteY2" fmla="*/ 716194 h 716194"/>
                  <a:gd name="connsiteX3" fmla="*/ 157315 w 157314"/>
                  <a:gd name="connsiteY3" fmla="*/ 0 h 716194"/>
                  <a:gd name="connsiteX4" fmla="*/ 0 w 157314"/>
                  <a:gd name="connsiteY4" fmla="*/ 0 h 71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14" h="716194">
                    <a:moveTo>
                      <a:pt x="0" y="0"/>
                    </a:moveTo>
                    <a:lnTo>
                      <a:pt x="0" y="716194"/>
                    </a:lnTo>
                    <a:lnTo>
                      <a:pt x="157315" y="716194"/>
                    </a:lnTo>
                    <a:lnTo>
                      <a:pt x="157315" y="0"/>
                    </a:lnTo>
                    <a:cubicBezTo>
                      <a:pt x="108680" y="28232"/>
                      <a:pt x="48625" y="28232"/>
                      <a:pt x="0" y="0"/>
                    </a:cubicBezTo>
                    <a:close/>
                  </a:path>
                </a:pathLst>
              </a:custGeom>
              <a:solidFill>
                <a:srgbClr val="9258A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  <p:sp>
            <p:nvSpPr>
              <p:cNvPr id="331" name="Forme libre : forme 330">
                <a:extLst>
                  <a:ext uri="{FF2B5EF4-FFF2-40B4-BE49-F238E27FC236}">
                    <a16:creationId xmlns:a16="http://schemas.microsoft.com/office/drawing/2014/main" id="{DC9FDE40-3638-4DB9-2E46-86A952D1CAC8}"/>
                  </a:ext>
                </a:extLst>
              </p:cNvPr>
              <p:cNvSpPr/>
              <p:nvPr/>
            </p:nvSpPr>
            <p:spPr>
              <a:xfrm>
                <a:off x="4365517" y="4088844"/>
                <a:ext cx="314629" cy="598674"/>
              </a:xfrm>
              <a:custGeom>
                <a:avLst/>
                <a:gdLst>
                  <a:gd name="connsiteX0" fmla="*/ 245526 w 314629"/>
                  <a:gd name="connsiteY0" fmla="*/ 214922 h 598674"/>
                  <a:gd name="connsiteX1" fmla="*/ 30594 w 314629"/>
                  <a:gd name="connsiteY1" fmla="*/ 0 h 598674"/>
                  <a:gd name="connsiteX2" fmla="*/ 0 w 314629"/>
                  <a:gd name="connsiteY2" fmla="*/ 115233 h 598674"/>
                  <a:gd name="connsiteX3" fmla="*/ 0 w 314629"/>
                  <a:gd name="connsiteY3" fmla="*/ 598675 h 598674"/>
                  <a:gd name="connsiteX4" fmla="*/ 314630 w 314629"/>
                  <a:gd name="connsiteY4" fmla="*/ 598675 h 598674"/>
                  <a:gd name="connsiteX5" fmla="*/ 314630 w 314629"/>
                  <a:gd name="connsiteY5" fmla="*/ 381781 h 598674"/>
                  <a:gd name="connsiteX6" fmla="*/ 245526 w 314629"/>
                  <a:gd name="connsiteY6" fmla="*/ 214922 h 59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629" h="598674">
                    <a:moveTo>
                      <a:pt x="245526" y="214922"/>
                    </a:moveTo>
                    <a:lnTo>
                      <a:pt x="30594" y="0"/>
                    </a:lnTo>
                    <a:cubicBezTo>
                      <a:pt x="11163" y="34633"/>
                      <a:pt x="0" y="74000"/>
                      <a:pt x="0" y="115233"/>
                    </a:cubicBezTo>
                    <a:lnTo>
                      <a:pt x="0" y="598675"/>
                    </a:lnTo>
                    <a:lnTo>
                      <a:pt x="314630" y="598675"/>
                    </a:lnTo>
                    <a:lnTo>
                      <a:pt x="314630" y="381781"/>
                    </a:lnTo>
                    <a:cubicBezTo>
                      <a:pt x="314639" y="319202"/>
                      <a:pt x="289779" y="259175"/>
                      <a:pt x="245526" y="214922"/>
                    </a:cubicBezTo>
                    <a:close/>
                  </a:path>
                </a:pathLst>
              </a:custGeom>
              <a:solidFill>
                <a:srgbClr val="9258A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  <p:sp>
            <p:nvSpPr>
              <p:cNvPr id="332" name="Forme libre : forme 331">
                <a:extLst>
                  <a:ext uri="{FF2B5EF4-FFF2-40B4-BE49-F238E27FC236}">
                    <a16:creationId xmlns:a16="http://schemas.microsoft.com/office/drawing/2014/main" id="{9E6B2216-0992-F20E-F48C-6F56FB00D186}"/>
                  </a:ext>
                </a:extLst>
              </p:cNvPr>
              <p:cNvSpPr/>
              <p:nvPr/>
            </p:nvSpPr>
            <p:spPr>
              <a:xfrm>
                <a:off x="5466749" y="4088844"/>
                <a:ext cx="314629" cy="598674"/>
              </a:xfrm>
              <a:custGeom>
                <a:avLst/>
                <a:gdLst>
                  <a:gd name="connsiteX0" fmla="*/ 69104 w 314629"/>
                  <a:gd name="connsiteY0" fmla="*/ 214922 h 598674"/>
                  <a:gd name="connsiteX1" fmla="*/ 284036 w 314629"/>
                  <a:gd name="connsiteY1" fmla="*/ 0 h 598674"/>
                  <a:gd name="connsiteX2" fmla="*/ 314630 w 314629"/>
                  <a:gd name="connsiteY2" fmla="*/ 115233 h 598674"/>
                  <a:gd name="connsiteX3" fmla="*/ 314630 w 314629"/>
                  <a:gd name="connsiteY3" fmla="*/ 598675 h 598674"/>
                  <a:gd name="connsiteX4" fmla="*/ 0 w 314629"/>
                  <a:gd name="connsiteY4" fmla="*/ 598675 h 598674"/>
                  <a:gd name="connsiteX5" fmla="*/ 0 w 314629"/>
                  <a:gd name="connsiteY5" fmla="*/ 381781 h 598674"/>
                  <a:gd name="connsiteX6" fmla="*/ 69104 w 314629"/>
                  <a:gd name="connsiteY6" fmla="*/ 214922 h 59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629" h="598674">
                    <a:moveTo>
                      <a:pt x="69104" y="214922"/>
                    </a:moveTo>
                    <a:lnTo>
                      <a:pt x="284036" y="0"/>
                    </a:lnTo>
                    <a:cubicBezTo>
                      <a:pt x="303467" y="34633"/>
                      <a:pt x="314630" y="74000"/>
                      <a:pt x="314630" y="115233"/>
                    </a:cubicBezTo>
                    <a:lnTo>
                      <a:pt x="314630" y="598675"/>
                    </a:lnTo>
                    <a:lnTo>
                      <a:pt x="0" y="598675"/>
                    </a:lnTo>
                    <a:lnTo>
                      <a:pt x="0" y="381781"/>
                    </a:lnTo>
                    <a:cubicBezTo>
                      <a:pt x="-19" y="319202"/>
                      <a:pt x="24841" y="259175"/>
                      <a:pt x="69104" y="214922"/>
                    </a:cubicBezTo>
                    <a:close/>
                  </a:path>
                </a:pathLst>
              </a:custGeom>
              <a:solidFill>
                <a:srgbClr val="9258A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2000"/>
              </a:p>
            </p:txBody>
          </p:sp>
        </p:grpSp>
        <p:sp>
          <p:nvSpPr>
            <p:cNvPr id="329" name="Forme libre : forme 328">
              <a:extLst>
                <a:ext uri="{FF2B5EF4-FFF2-40B4-BE49-F238E27FC236}">
                  <a16:creationId xmlns:a16="http://schemas.microsoft.com/office/drawing/2014/main" id="{AE3A2488-D0FB-F8DF-F077-5BE566C9412A}"/>
                </a:ext>
              </a:extLst>
            </p:cNvPr>
            <p:cNvSpPr/>
            <p:nvPr/>
          </p:nvSpPr>
          <p:spPr>
            <a:xfrm>
              <a:off x="6096000" y="1855831"/>
              <a:ext cx="2123770" cy="2831687"/>
            </a:xfrm>
            <a:custGeom>
              <a:avLst/>
              <a:gdLst>
                <a:gd name="connsiteX0" fmla="*/ 2123770 w 2123770"/>
                <a:gd name="connsiteY0" fmla="*/ 1337186 h 2831687"/>
                <a:gd name="connsiteX1" fmla="*/ 157315 w 2123770"/>
                <a:gd name="connsiteY1" fmla="*/ 1337186 h 2831687"/>
                <a:gd name="connsiteX2" fmla="*/ 157315 w 2123770"/>
                <a:gd name="connsiteY2" fmla="*/ 0 h 2831687"/>
                <a:gd name="connsiteX3" fmla="*/ 0 w 2123770"/>
                <a:gd name="connsiteY3" fmla="*/ 0 h 2831687"/>
                <a:gd name="connsiteX4" fmla="*/ 0 w 2123770"/>
                <a:gd name="connsiteY4" fmla="*/ 2831687 h 2831687"/>
                <a:gd name="connsiteX5" fmla="*/ 157315 w 2123770"/>
                <a:gd name="connsiteY5" fmla="*/ 2831687 h 2831687"/>
                <a:gd name="connsiteX6" fmla="*/ 157315 w 2123770"/>
                <a:gd name="connsiteY6" fmla="*/ 1494501 h 2831687"/>
                <a:gd name="connsiteX7" fmla="*/ 2123770 w 2123770"/>
                <a:gd name="connsiteY7" fmla="*/ 1494501 h 283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3770" h="2831687">
                  <a:moveTo>
                    <a:pt x="2123770" y="1337186"/>
                  </a:moveTo>
                  <a:lnTo>
                    <a:pt x="157315" y="1337186"/>
                  </a:lnTo>
                  <a:lnTo>
                    <a:pt x="157315" y="0"/>
                  </a:lnTo>
                  <a:lnTo>
                    <a:pt x="0" y="0"/>
                  </a:lnTo>
                  <a:lnTo>
                    <a:pt x="0" y="2831687"/>
                  </a:lnTo>
                  <a:lnTo>
                    <a:pt x="157315" y="2831687"/>
                  </a:lnTo>
                  <a:lnTo>
                    <a:pt x="157315" y="1494501"/>
                  </a:lnTo>
                  <a:lnTo>
                    <a:pt x="2123770" y="149450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2000"/>
            </a:p>
          </p:txBody>
        </p:sp>
      </p:grpSp>
      <p:sp>
        <p:nvSpPr>
          <p:cNvPr id="342" name="ZoneTexte 341">
            <a:extLst>
              <a:ext uri="{FF2B5EF4-FFF2-40B4-BE49-F238E27FC236}">
                <a16:creationId xmlns:a16="http://schemas.microsoft.com/office/drawing/2014/main" id="{91948965-2A93-81DB-3794-20B646DA1DAB}"/>
              </a:ext>
            </a:extLst>
          </p:cNvPr>
          <p:cNvSpPr txBox="1"/>
          <p:nvPr/>
        </p:nvSpPr>
        <p:spPr>
          <a:xfrm>
            <a:off x="585612" y="970186"/>
            <a:ext cx="828467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>
                <a:solidFill>
                  <a:srgbClr val="9757B6"/>
                </a:solidFill>
              </a:rPr>
              <a:t>This association goes </a:t>
            </a:r>
            <a:r>
              <a:rPr lang="en" b="1">
                <a:solidFill>
                  <a:srgbClr val="9757B6"/>
                </a:solidFill>
              </a:rPr>
              <a:t>beyond simple discussions and exchanges </a:t>
            </a:r>
            <a:r>
              <a:rPr lang="en">
                <a:solidFill>
                  <a:srgbClr val="9757B6"/>
                </a:solidFill>
              </a:rPr>
              <a:t>of good practices with the realization of joint projects, from the </a:t>
            </a:r>
            <a:r>
              <a:rPr lang="en" b="1">
                <a:solidFill>
                  <a:srgbClr val="9757B6"/>
                </a:solidFill>
              </a:rPr>
              <a:t>simple contribution to a community to the creation of end-to-end projects. </a:t>
            </a:r>
          </a:p>
        </p:txBody>
      </p:sp>
    </p:spTree>
    <p:extLst>
      <p:ext uri="{BB962C8B-B14F-4D97-AF65-F5344CB8AC3E}">
        <p14:creationId xmlns:p14="http://schemas.microsoft.com/office/powerpoint/2010/main" val="39631521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E29-4EE0-E47F-2FBE-A6737ACBD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 descr="Une image contenant plein air, nuage, ciel, Tour de grande hauteur&#10;&#10;Description générée automatiquement">
            <a:extLst>
              <a:ext uri="{FF2B5EF4-FFF2-40B4-BE49-F238E27FC236}">
                <a16:creationId xmlns:a16="http://schemas.microsoft.com/office/drawing/2014/main" id="{384BF2A8-B498-CA32-80BC-2950F801A2E9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848" r="6270"/>
          <a:stretch/>
        </p:blipFill>
        <p:spPr>
          <a:xfrm>
            <a:off x="142944" y="0"/>
            <a:ext cx="3276929" cy="5164138"/>
          </a:xfrm>
        </p:spPr>
      </p:pic>
      <p:grpSp>
        <p:nvGrpSpPr>
          <p:cNvPr id="31" name="Groupe 30">
            <a:extLst>
              <a:ext uri="{FF2B5EF4-FFF2-40B4-BE49-F238E27FC236}">
                <a16:creationId xmlns:a16="http://schemas.microsoft.com/office/drawing/2014/main" id="{A5E9153A-012C-6C56-0723-D67EF3793F83}"/>
              </a:ext>
            </a:extLst>
          </p:cNvPr>
          <p:cNvGrpSpPr/>
          <p:nvPr/>
        </p:nvGrpSpPr>
        <p:grpSpPr>
          <a:xfrm>
            <a:off x="2609498" y="1726453"/>
            <a:ext cx="1980318" cy="1690595"/>
            <a:chOff x="2303748" y="1726453"/>
            <a:chExt cx="1980318" cy="169059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9EC07C1-D700-ABA3-6020-5CF2392DB060}"/>
                </a:ext>
              </a:extLst>
            </p:cNvPr>
            <p:cNvSpPr/>
            <p:nvPr/>
          </p:nvSpPr>
          <p:spPr>
            <a:xfrm>
              <a:off x="2303748" y="1726453"/>
              <a:ext cx="1908212" cy="1690595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0138BD7-505F-5A5A-9476-9CE95851A319}"/>
                </a:ext>
              </a:extLst>
            </p:cNvPr>
            <p:cNvSpPr/>
            <p:nvPr/>
          </p:nvSpPr>
          <p:spPr>
            <a:xfrm>
              <a:off x="2396028" y="1822485"/>
              <a:ext cx="1888038" cy="1498531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FC52C0-A351-D39E-43EC-76C87EA70CFF}"/>
                </a:ext>
              </a:extLst>
            </p:cNvPr>
            <p:cNvSpPr/>
            <p:nvPr/>
          </p:nvSpPr>
          <p:spPr>
            <a:xfrm>
              <a:off x="2492060" y="1918515"/>
              <a:ext cx="1719900" cy="13064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0A2B391A-720F-F2E3-6C51-FE745A4153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>
                <a:solidFill>
                  <a:schemeClr val="accent1"/>
                </a:solidFill>
                <a:latin typeface="Montserrat ExtraBold"/>
              </a:rPr>
              <a:t>tHE MISSIONS OF THE </a:t>
            </a:r>
            <a:r>
              <a:rPr lang="en-US" sz="2800" err="1">
                <a:solidFill>
                  <a:schemeClr val="accent1"/>
                </a:solidFill>
                <a:latin typeface="Montserrat ExtraBold"/>
              </a:rPr>
              <a:t>oPEN</a:t>
            </a:r>
            <a:r>
              <a:rPr lang="en-US" sz="2800">
                <a:solidFill>
                  <a:schemeClr val="accent1"/>
                </a:solidFill>
                <a:latin typeface="Montserrat ExtraBold"/>
              </a:rPr>
              <a:t> sOURCE</a:t>
            </a:r>
            <a:endParaRPr lang="en-US" sz="2800" err="1">
              <a:solidFill>
                <a:schemeClr val="accent1"/>
              </a:solidFill>
              <a:latin typeface="Montserrat ExtraBold"/>
            </a:endParaRP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84BFAC41-5599-712C-9D22-C9FAED4029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accent4"/>
                </a:solidFill>
                <a:latin typeface="Montserrat ExtraBold"/>
                <a:cs typeface="Arial"/>
              </a:rPr>
              <a:t>03</a:t>
            </a:r>
            <a:endParaRPr lang="en-US">
              <a:solidFill>
                <a:schemeClr val="accent4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4721083-7316-407B-2081-637C0663CB7B}"/>
              </a:ext>
            </a:extLst>
          </p:cNvPr>
          <p:cNvCxnSpPr>
            <a:cxnSpLocks/>
          </p:cNvCxnSpPr>
          <p:nvPr/>
        </p:nvCxnSpPr>
        <p:spPr>
          <a:xfrm>
            <a:off x="3851920" y="2322000"/>
            <a:ext cx="0" cy="432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45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object 9">
            <a:extLst>
              <a:ext uri="{FF2B5EF4-FFF2-40B4-BE49-F238E27FC236}">
                <a16:creationId xmlns:a16="http://schemas.microsoft.com/office/drawing/2014/main" id="{183F094A-FD01-6DC0-CFAE-A16875143022}"/>
              </a:ext>
            </a:extLst>
          </p:cNvPr>
          <p:cNvGrpSpPr/>
          <p:nvPr/>
        </p:nvGrpSpPr>
        <p:grpSpPr>
          <a:xfrm>
            <a:off x="2351535" y="1152143"/>
            <a:ext cx="12700" cy="3276000"/>
            <a:chOff x="2072349" y="6697807"/>
            <a:chExt cx="12700" cy="2066289"/>
          </a:xfrm>
        </p:grpSpPr>
        <p:sp>
          <p:nvSpPr>
            <p:cNvPr id="91" name="object 10">
              <a:extLst>
                <a:ext uri="{FF2B5EF4-FFF2-40B4-BE49-F238E27FC236}">
                  <a16:creationId xmlns:a16="http://schemas.microsoft.com/office/drawing/2014/main" id="{388687EE-4FDB-5948-06DF-C5511E2A110C}"/>
                </a:ext>
              </a:extLst>
            </p:cNvPr>
            <p:cNvSpPr/>
            <p:nvPr/>
          </p:nvSpPr>
          <p:spPr>
            <a:xfrm>
              <a:off x="2078699" y="6723168"/>
              <a:ext cx="0" cy="1996439"/>
            </a:xfrm>
            <a:custGeom>
              <a:avLst/>
              <a:gdLst/>
              <a:ahLst/>
              <a:cxnLst/>
              <a:rect l="l" t="t" r="r" b="b"/>
              <a:pathLst>
                <a:path h="1996440">
                  <a:moveTo>
                    <a:pt x="0" y="199630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B2B2B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  <p:sp>
          <p:nvSpPr>
            <p:cNvPr id="92" name="object 11">
              <a:extLst>
                <a:ext uri="{FF2B5EF4-FFF2-40B4-BE49-F238E27FC236}">
                  <a16:creationId xmlns:a16="http://schemas.microsoft.com/office/drawing/2014/main" id="{8792F41E-6ADB-45B8-641E-EBB2338B87A3}"/>
                </a:ext>
              </a:extLst>
            </p:cNvPr>
            <p:cNvSpPr/>
            <p:nvPr/>
          </p:nvSpPr>
          <p:spPr>
            <a:xfrm>
              <a:off x="2072347" y="6697814"/>
              <a:ext cx="12700" cy="2066289"/>
            </a:xfrm>
            <a:custGeom>
              <a:avLst/>
              <a:gdLst/>
              <a:ahLst/>
              <a:cxnLst/>
              <a:rect l="l" t="t" r="r" b="b"/>
              <a:pathLst>
                <a:path w="12700" h="2066290">
                  <a:moveTo>
                    <a:pt x="12700" y="2059686"/>
                  </a:moveTo>
                  <a:lnTo>
                    <a:pt x="10833" y="2055190"/>
                  </a:lnTo>
                  <a:lnTo>
                    <a:pt x="6350" y="2053336"/>
                  </a:lnTo>
                  <a:lnTo>
                    <a:pt x="1854" y="2055190"/>
                  </a:lnTo>
                  <a:lnTo>
                    <a:pt x="0" y="2059686"/>
                  </a:lnTo>
                  <a:lnTo>
                    <a:pt x="1854" y="2064169"/>
                  </a:lnTo>
                  <a:lnTo>
                    <a:pt x="6350" y="2066036"/>
                  </a:lnTo>
                  <a:lnTo>
                    <a:pt x="10833" y="2064169"/>
                  </a:lnTo>
                  <a:lnTo>
                    <a:pt x="12700" y="2059686"/>
                  </a:lnTo>
                  <a:close/>
                </a:path>
                <a:path w="12700" h="2066290">
                  <a:moveTo>
                    <a:pt x="12700" y="6350"/>
                  </a:moveTo>
                  <a:lnTo>
                    <a:pt x="10833" y="1854"/>
                  </a:lnTo>
                  <a:lnTo>
                    <a:pt x="6350" y="0"/>
                  </a:lnTo>
                  <a:lnTo>
                    <a:pt x="1854" y="1854"/>
                  </a:lnTo>
                  <a:lnTo>
                    <a:pt x="0" y="6350"/>
                  </a:lnTo>
                  <a:lnTo>
                    <a:pt x="1854" y="10833"/>
                  </a:lnTo>
                  <a:lnTo>
                    <a:pt x="6350" y="12700"/>
                  </a:lnTo>
                  <a:lnTo>
                    <a:pt x="10833" y="10833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B2B2B2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</p:grpSp>
      <p:grpSp>
        <p:nvGrpSpPr>
          <p:cNvPr id="93" name="object 9">
            <a:extLst>
              <a:ext uri="{FF2B5EF4-FFF2-40B4-BE49-F238E27FC236}">
                <a16:creationId xmlns:a16="http://schemas.microsoft.com/office/drawing/2014/main" id="{ABEC55B6-208D-D082-FE02-9C2E54D8036E}"/>
              </a:ext>
            </a:extLst>
          </p:cNvPr>
          <p:cNvGrpSpPr/>
          <p:nvPr/>
        </p:nvGrpSpPr>
        <p:grpSpPr>
          <a:xfrm>
            <a:off x="4598802" y="1171380"/>
            <a:ext cx="12700" cy="3276000"/>
            <a:chOff x="2072349" y="6697807"/>
            <a:chExt cx="12700" cy="2066289"/>
          </a:xfrm>
        </p:grpSpPr>
        <p:sp>
          <p:nvSpPr>
            <p:cNvPr id="94" name="object 10">
              <a:extLst>
                <a:ext uri="{FF2B5EF4-FFF2-40B4-BE49-F238E27FC236}">
                  <a16:creationId xmlns:a16="http://schemas.microsoft.com/office/drawing/2014/main" id="{B2C5CFF1-0675-D072-F039-964352524E16}"/>
                </a:ext>
              </a:extLst>
            </p:cNvPr>
            <p:cNvSpPr/>
            <p:nvPr/>
          </p:nvSpPr>
          <p:spPr>
            <a:xfrm>
              <a:off x="2078699" y="6723168"/>
              <a:ext cx="0" cy="1996439"/>
            </a:xfrm>
            <a:custGeom>
              <a:avLst/>
              <a:gdLst/>
              <a:ahLst/>
              <a:cxnLst/>
              <a:rect l="l" t="t" r="r" b="b"/>
              <a:pathLst>
                <a:path h="1996440">
                  <a:moveTo>
                    <a:pt x="0" y="199630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B2B2B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  <p:sp>
          <p:nvSpPr>
            <p:cNvPr id="95" name="object 11">
              <a:extLst>
                <a:ext uri="{FF2B5EF4-FFF2-40B4-BE49-F238E27FC236}">
                  <a16:creationId xmlns:a16="http://schemas.microsoft.com/office/drawing/2014/main" id="{4E5B8146-C011-BA83-478C-5B20AD916301}"/>
                </a:ext>
              </a:extLst>
            </p:cNvPr>
            <p:cNvSpPr/>
            <p:nvPr/>
          </p:nvSpPr>
          <p:spPr>
            <a:xfrm>
              <a:off x="2072347" y="6697814"/>
              <a:ext cx="12700" cy="2066289"/>
            </a:xfrm>
            <a:custGeom>
              <a:avLst/>
              <a:gdLst/>
              <a:ahLst/>
              <a:cxnLst/>
              <a:rect l="l" t="t" r="r" b="b"/>
              <a:pathLst>
                <a:path w="12700" h="2066290">
                  <a:moveTo>
                    <a:pt x="12700" y="2059686"/>
                  </a:moveTo>
                  <a:lnTo>
                    <a:pt x="10833" y="2055190"/>
                  </a:lnTo>
                  <a:lnTo>
                    <a:pt x="6350" y="2053336"/>
                  </a:lnTo>
                  <a:lnTo>
                    <a:pt x="1854" y="2055190"/>
                  </a:lnTo>
                  <a:lnTo>
                    <a:pt x="0" y="2059686"/>
                  </a:lnTo>
                  <a:lnTo>
                    <a:pt x="1854" y="2064169"/>
                  </a:lnTo>
                  <a:lnTo>
                    <a:pt x="6350" y="2066036"/>
                  </a:lnTo>
                  <a:lnTo>
                    <a:pt x="10833" y="2064169"/>
                  </a:lnTo>
                  <a:lnTo>
                    <a:pt x="12700" y="2059686"/>
                  </a:lnTo>
                  <a:close/>
                </a:path>
                <a:path w="12700" h="2066290">
                  <a:moveTo>
                    <a:pt x="12700" y="6350"/>
                  </a:moveTo>
                  <a:lnTo>
                    <a:pt x="10833" y="1854"/>
                  </a:lnTo>
                  <a:lnTo>
                    <a:pt x="6350" y="0"/>
                  </a:lnTo>
                  <a:lnTo>
                    <a:pt x="1854" y="1854"/>
                  </a:lnTo>
                  <a:lnTo>
                    <a:pt x="0" y="6350"/>
                  </a:lnTo>
                  <a:lnTo>
                    <a:pt x="1854" y="10833"/>
                  </a:lnTo>
                  <a:lnTo>
                    <a:pt x="6350" y="12700"/>
                  </a:lnTo>
                  <a:lnTo>
                    <a:pt x="10833" y="10833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B2B2B2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</p:grpSp>
      <p:grpSp>
        <p:nvGrpSpPr>
          <p:cNvPr id="171" name="Groupe 170">
            <a:extLst>
              <a:ext uri="{FF2B5EF4-FFF2-40B4-BE49-F238E27FC236}">
                <a16:creationId xmlns:a16="http://schemas.microsoft.com/office/drawing/2014/main" id="{B437428D-B9CD-9017-814A-51DDC252F46F}"/>
              </a:ext>
            </a:extLst>
          </p:cNvPr>
          <p:cNvGrpSpPr/>
          <p:nvPr/>
        </p:nvGrpSpPr>
        <p:grpSpPr>
          <a:xfrm>
            <a:off x="325406" y="1109606"/>
            <a:ext cx="1889804" cy="1805360"/>
            <a:chOff x="2801328" y="994502"/>
            <a:chExt cx="3485022" cy="3487192"/>
          </a:xfrm>
        </p:grpSpPr>
        <p:grpSp>
          <p:nvGrpSpPr>
            <p:cNvPr id="172" name="Groupe 171">
              <a:extLst>
                <a:ext uri="{FF2B5EF4-FFF2-40B4-BE49-F238E27FC236}">
                  <a16:creationId xmlns:a16="http://schemas.microsoft.com/office/drawing/2014/main" id="{17FDE725-CF46-D7A6-ABBE-5A355EEAC07E}"/>
                </a:ext>
              </a:extLst>
            </p:cNvPr>
            <p:cNvGrpSpPr/>
            <p:nvPr/>
          </p:nvGrpSpPr>
          <p:grpSpPr>
            <a:xfrm>
              <a:off x="2801328" y="994502"/>
              <a:ext cx="3485022" cy="3487192"/>
              <a:chOff x="2801328" y="994502"/>
              <a:chExt cx="3485022" cy="3487192"/>
            </a:xfrm>
          </p:grpSpPr>
          <p:sp>
            <p:nvSpPr>
              <p:cNvPr id="174" name="Oval 80">
                <a:extLst>
                  <a:ext uri="{FF2B5EF4-FFF2-40B4-BE49-F238E27FC236}">
                    <a16:creationId xmlns:a16="http://schemas.microsoft.com/office/drawing/2014/main" id="{9DD4FADB-A5BF-931A-F6B5-05CCCAAA2D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1328" y="994502"/>
                <a:ext cx="3485022" cy="3487192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5" name="Oval 80">
                <a:extLst>
                  <a:ext uri="{FF2B5EF4-FFF2-40B4-BE49-F238E27FC236}">
                    <a16:creationId xmlns:a16="http://schemas.microsoft.com/office/drawing/2014/main" id="{B33B151A-18B4-F1EA-5DEA-C03DD367F2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165" y="1298368"/>
                <a:ext cx="2877670" cy="2879462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3" name="ZoneTexte 172">
              <a:extLst>
                <a:ext uri="{FF2B5EF4-FFF2-40B4-BE49-F238E27FC236}">
                  <a16:creationId xmlns:a16="http://schemas.microsoft.com/office/drawing/2014/main" id="{8A9A3C2F-4EBC-7B66-434F-08A0BE88F878}"/>
                </a:ext>
              </a:extLst>
            </p:cNvPr>
            <p:cNvSpPr txBox="1"/>
            <p:nvPr/>
          </p:nvSpPr>
          <p:spPr>
            <a:xfrm>
              <a:off x="3034824" y="1636163"/>
              <a:ext cx="3013841" cy="2213123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fr-FR" sz="1600" b="1" noProof="0">
                  <a:solidFill>
                    <a:schemeClr val="accent1"/>
                  </a:solidFill>
                  <a:latin typeface="Montserrat"/>
                  <a:cs typeface="Arial"/>
                </a:rPr>
                <a:t>Open Source</a:t>
              </a:r>
              <a:r>
                <a:rPr lang="fr-FR" sz="1600" b="1">
                  <a:solidFill>
                    <a:srgbClr val="581D74"/>
                  </a:solidFill>
                  <a:latin typeface="Montserrat"/>
                  <a:cs typeface="Arial"/>
                </a:rPr>
                <a:t> Project Manager</a:t>
              </a:r>
              <a:r>
                <a:rPr lang="fr-FR" sz="1400" noProof="0">
                  <a:solidFill>
                    <a:srgbClr val="B24388"/>
                  </a:solidFill>
                  <a:latin typeface="Montserrat"/>
                  <a:cs typeface="Arial"/>
                </a:rPr>
                <a:t> </a:t>
              </a:r>
            </a:p>
          </p:txBody>
        </p:sp>
      </p:grpSp>
      <p:sp>
        <p:nvSpPr>
          <p:cNvPr id="176" name="ZoneTexte 175">
            <a:extLst>
              <a:ext uri="{FF2B5EF4-FFF2-40B4-BE49-F238E27FC236}">
                <a16:creationId xmlns:a16="http://schemas.microsoft.com/office/drawing/2014/main" id="{2D2D79DB-3370-EEBD-0260-34FC06E629C8}"/>
              </a:ext>
            </a:extLst>
          </p:cNvPr>
          <p:cNvSpPr txBox="1"/>
          <p:nvPr/>
        </p:nvSpPr>
        <p:spPr>
          <a:xfrm>
            <a:off x="181406" y="3058370"/>
            <a:ext cx="2174573" cy="17758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</a:pPr>
            <a:r>
              <a:rPr lang="fr-FR" sz="1200" noProof="0">
                <a:ea typeface="+mn-lt"/>
                <a:cs typeface="+mn-lt"/>
              </a:rPr>
              <a:t>✓</a:t>
            </a:r>
            <a:r>
              <a:rPr lang="fr-FR" sz="1200">
                <a:ea typeface="+mn-lt"/>
                <a:cs typeface="+mn-lt"/>
              </a:rPr>
              <a:t>Structuring </a:t>
            </a:r>
            <a:r>
              <a:rPr lang="fr-FR" sz="1200" noProof="0">
                <a:ea typeface="+mn-lt"/>
                <a:cs typeface="+mn-lt"/>
              </a:rPr>
              <a:t>&amp; </a:t>
            </a:r>
            <a:r>
              <a:rPr lang="fr-FR" sz="1200">
                <a:ea typeface="+mn-lt"/>
                <a:cs typeface="+mn-lt"/>
              </a:rPr>
              <a:t>steering the </a:t>
            </a:r>
            <a:r>
              <a:rPr lang="fr-FR" sz="1200" noProof="0">
                <a:ea typeface="+mn-lt"/>
                <a:cs typeface="+mn-lt"/>
              </a:rPr>
              <a:t>OS</a:t>
            </a:r>
            <a:r>
              <a:rPr lang="fr-FR" sz="1200">
                <a:ea typeface="+mn-lt"/>
                <a:cs typeface="+mn-lt"/>
              </a:rPr>
              <a:t> program</a:t>
            </a:r>
            <a:endParaRPr lang="fr-FR" noProof="0">
              <a:cs typeface="Arial"/>
            </a:endParaRPr>
          </a:p>
          <a:p>
            <a:pPr algn="ctr"/>
            <a:r>
              <a:rPr lang="fr-FR" sz="1200" noProof="0">
                <a:ea typeface="+mn-lt"/>
                <a:cs typeface="+mn-lt"/>
              </a:rPr>
              <a:t>✓</a:t>
            </a:r>
            <a:r>
              <a:rPr lang="fr-FR" sz="1200">
                <a:ea typeface="+mn-lt"/>
                <a:cs typeface="+mn-lt"/>
              </a:rPr>
              <a:t>Scoping initiatives</a:t>
            </a:r>
            <a:endParaRPr lang="fr-FR" noProof="0"/>
          </a:p>
          <a:p>
            <a:pPr algn="ctr"/>
            <a:r>
              <a:rPr lang="fr-FR" sz="1200" noProof="0">
                <a:ea typeface="+mn-lt"/>
                <a:cs typeface="+mn-lt"/>
              </a:rPr>
              <a:t>✓OSA </a:t>
            </a:r>
            <a:r>
              <a:rPr lang="fr-FR" sz="1200">
                <a:ea typeface="+mn-lt"/>
                <a:cs typeface="+mn-lt"/>
              </a:rPr>
              <a:t>governance and visibility of </a:t>
            </a:r>
            <a:r>
              <a:rPr lang="fr-FR" sz="1200" noProof="0">
                <a:ea typeface="+mn-lt"/>
                <a:cs typeface="+mn-lt"/>
              </a:rPr>
              <a:t>OS</a:t>
            </a:r>
            <a:r>
              <a:rPr lang="fr-FR" sz="1200">
                <a:ea typeface="+mn-lt"/>
                <a:cs typeface="+mn-lt"/>
              </a:rPr>
              <a:t> value</a:t>
            </a:r>
            <a:endParaRPr lang="fr-FR" noProof="0"/>
          </a:p>
          <a:p>
            <a:pPr algn="ctr"/>
            <a:r>
              <a:rPr lang="fr-FR" sz="1200" noProof="0">
                <a:ea typeface="+mn-lt"/>
                <a:cs typeface="+mn-lt"/>
              </a:rPr>
              <a:t>✓</a:t>
            </a:r>
            <a:r>
              <a:rPr lang="fr-FR" sz="1200">
                <a:ea typeface="+mn-lt"/>
                <a:cs typeface="+mn-lt"/>
              </a:rPr>
              <a:t>Cross-functional internal facilitation</a:t>
            </a:r>
            <a:endParaRPr lang="fr-FR" noProof="0"/>
          </a:p>
          <a:p>
            <a:pPr algn="ctr"/>
            <a:r>
              <a:rPr lang="fr-FR" sz="1200" noProof="0">
                <a:ea typeface="+mn-lt"/>
                <a:cs typeface="+mn-lt"/>
              </a:rPr>
              <a:t>✓</a:t>
            </a:r>
            <a:r>
              <a:rPr lang="fr-FR" sz="1200">
                <a:ea typeface="+mn-lt"/>
                <a:cs typeface="+mn-lt"/>
              </a:rPr>
              <a:t>Organization of the awareness-building </a:t>
            </a:r>
            <a:r>
              <a:rPr lang="fr-FR" sz="1200" noProof="0">
                <a:ea typeface="+mn-lt"/>
                <a:cs typeface="+mn-lt"/>
              </a:rPr>
              <a:t>plan</a:t>
            </a:r>
            <a:endParaRPr lang="en-US" sz="1200">
              <a:cs typeface="Arial"/>
            </a:endParaRPr>
          </a:p>
        </p:txBody>
      </p:sp>
      <p:grpSp>
        <p:nvGrpSpPr>
          <p:cNvPr id="178" name="Groupe 177">
            <a:extLst>
              <a:ext uri="{FF2B5EF4-FFF2-40B4-BE49-F238E27FC236}">
                <a16:creationId xmlns:a16="http://schemas.microsoft.com/office/drawing/2014/main" id="{0DB2C55C-D6C7-04DC-C37D-750BE267CDD6}"/>
              </a:ext>
            </a:extLst>
          </p:cNvPr>
          <p:cNvGrpSpPr/>
          <p:nvPr/>
        </p:nvGrpSpPr>
        <p:grpSpPr>
          <a:xfrm>
            <a:off x="2491880" y="1096106"/>
            <a:ext cx="1943804" cy="1827860"/>
            <a:chOff x="2801328" y="994502"/>
            <a:chExt cx="3485022" cy="3487192"/>
          </a:xfrm>
        </p:grpSpPr>
        <p:grpSp>
          <p:nvGrpSpPr>
            <p:cNvPr id="179" name="Groupe 178">
              <a:extLst>
                <a:ext uri="{FF2B5EF4-FFF2-40B4-BE49-F238E27FC236}">
                  <a16:creationId xmlns:a16="http://schemas.microsoft.com/office/drawing/2014/main" id="{E86792EF-85A1-2E6B-1449-FF3C436EC018}"/>
                </a:ext>
              </a:extLst>
            </p:cNvPr>
            <p:cNvGrpSpPr/>
            <p:nvPr/>
          </p:nvGrpSpPr>
          <p:grpSpPr>
            <a:xfrm>
              <a:off x="2801328" y="994502"/>
              <a:ext cx="3485022" cy="3487192"/>
              <a:chOff x="2801328" y="994502"/>
              <a:chExt cx="3485022" cy="3487192"/>
            </a:xfrm>
          </p:grpSpPr>
          <p:sp>
            <p:nvSpPr>
              <p:cNvPr id="181" name="Oval 80">
                <a:extLst>
                  <a:ext uri="{FF2B5EF4-FFF2-40B4-BE49-F238E27FC236}">
                    <a16:creationId xmlns:a16="http://schemas.microsoft.com/office/drawing/2014/main" id="{256D0504-8CF8-8B87-AF95-1A0C54832D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1328" y="994502"/>
                <a:ext cx="3485022" cy="3487192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Oval 80">
                <a:extLst>
                  <a:ext uri="{FF2B5EF4-FFF2-40B4-BE49-F238E27FC236}">
                    <a16:creationId xmlns:a16="http://schemas.microsoft.com/office/drawing/2014/main" id="{61556386-51B1-8B6D-24D0-C676434FF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165" y="1298368"/>
                <a:ext cx="2877670" cy="2879462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0" name="ZoneTexte 179">
              <a:extLst>
                <a:ext uri="{FF2B5EF4-FFF2-40B4-BE49-F238E27FC236}">
                  <a16:creationId xmlns:a16="http://schemas.microsoft.com/office/drawing/2014/main" id="{9E2B4A5A-7A80-37BB-83DA-D1069C18357C}"/>
                </a:ext>
              </a:extLst>
            </p:cNvPr>
            <p:cNvSpPr txBox="1"/>
            <p:nvPr/>
          </p:nvSpPr>
          <p:spPr>
            <a:xfrm>
              <a:off x="3321423" y="2033490"/>
              <a:ext cx="2514604" cy="1409223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fr-FR" sz="1400" b="1" noProof="0">
                  <a:solidFill>
                    <a:schemeClr val="accent1"/>
                  </a:solidFill>
                  <a:latin typeface="Montserrat"/>
                  <a:cs typeface="Arial"/>
                </a:rPr>
                <a:t>Open Source </a:t>
              </a:r>
              <a:r>
                <a:rPr lang="fr-FR" sz="1400" b="1">
                  <a:solidFill>
                    <a:schemeClr val="accent1"/>
                  </a:solidFill>
                  <a:latin typeface="Montserrat"/>
                  <a:cs typeface="Arial"/>
                </a:rPr>
                <a:t>Market </a:t>
              </a:r>
              <a:endParaRPr lang="fr-FR" sz="1400" b="1" noProof="0">
                <a:solidFill>
                  <a:schemeClr val="accent1"/>
                </a:solidFill>
                <a:latin typeface="Montserrat"/>
                <a:cs typeface="Arial"/>
              </a:endParaRPr>
            </a:p>
            <a:p>
              <a:pPr algn="ctr"/>
              <a:r>
                <a:rPr lang="fr-FR" sz="1400" b="1">
                  <a:solidFill>
                    <a:srgbClr val="581D74"/>
                  </a:solidFill>
                  <a:latin typeface="Montserrat" pitchFamily="2" charset="0"/>
                  <a:cs typeface="Arial" panose="020B0604020202020204" pitchFamily="34" charset="0"/>
                </a:rPr>
                <a:t>Expert</a:t>
              </a:r>
              <a:endParaRPr lang="fr-FR" sz="1400" b="1" noProof="0">
                <a:solidFill>
                  <a:schemeClr val="accent1"/>
                </a:solidFill>
                <a:latin typeface="Montserrat"/>
                <a:cs typeface="Arial"/>
              </a:endParaRPr>
            </a:p>
          </p:txBody>
        </p:sp>
      </p:grpSp>
      <p:grpSp>
        <p:nvGrpSpPr>
          <p:cNvPr id="184" name="Groupe 183">
            <a:extLst>
              <a:ext uri="{FF2B5EF4-FFF2-40B4-BE49-F238E27FC236}">
                <a16:creationId xmlns:a16="http://schemas.microsoft.com/office/drawing/2014/main" id="{F125FC7F-8221-E9EB-98E5-C984491EF14B}"/>
              </a:ext>
            </a:extLst>
          </p:cNvPr>
          <p:cNvGrpSpPr/>
          <p:nvPr/>
        </p:nvGrpSpPr>
        <p:grpSpPr>
          <a:xfrm>
            <a:off x="4744354" y="1109606"/>
            <a:ext cx="1984304" cy="1805360"/>
            <a:chOff x="2801328" y="994502"/>
            <a:chExt cx="3485022" cy="3487192"/>
          </a:xfrm>
        </p:grpSpPr>
        <p:grpSp>
          <p:nvGrpSpPr>
            <p:cNvPr id="185" name="Groupe 184">
              <a:extLst>
                <a:ext uri="{FF2B5EF4-FFF2-40B4-BE49-F238E27FC236}">
                  <a16:creationId xmlns:a16="http://schemas.microsoft.com/office/drawing/2014/main" id="{8653BC66-D754-BFD6-41A1-A94EC4D4DCCD}"/>
                </a:ext>
              </a:extLst>
            </p:cNvPr>
            <p:cNvGrpSpPr/>
            <p:nvPr/>
          </p:nvGrpSpPr>
          <p:grpSpPr>
            <a:xfrm>
              <a:off x="2801328" y="994502"/>
              <a:ext cx="3485022" cy="3487192"/>
              <a:chOff x="2801328" y="994502"/>
              <a:chExt cx="3485022" cy="3487192"/>
            </a:xfrm>
          </p:grpSpPr>
          <p:sp>
            <p:nvSpPr>
              <p:cNvPr id="187" name="Oval 80">
                <a:extLst>
                  <a:ext uri="{FF2B5EF4-FFF2-40B4-BE49-F238E27FC236}">
                    <a16:creationId xmlns:a16="http://schemas.microsoft.com/office/drawing/2014/main" id="{E0E16C5F-DA8F-97E7-4469-FCF2E1BC9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1328" y="994502"/>
                <a:ext cx="3485022" cy="3487192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8" name="Oval 80">
                <a:extLst>
                  <a:ext uri="{FF2B5EF4-FFF2-40B4-BE49-F238E27FC236}">
                    <a16:creationId xmlns:a16="http://schemas.microsoft.com/office/drawing/2014/main" id="{3E70B44D-A2C6-5AAE-1FDA-C288895D1A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165" y="1298368"/>
                <a:ext cx="2877670" cy="2879462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ZoneTexte 185">
              <a:extLst>
                <a:ext uri="{FF2B5EF4-FFF2-40B4-BE49-F238E27FC236}">
                  <a16:creationId xmlns:a16="http://schemas.microsoft.com/office/drawing/2014/main" id="{32B2999F-FBAD-3834-9590-2D3FD0A8160B}"/>
                </a:ext>
              </a:extLst>
            </p:cNvPr>
            <p:cNvSpPr txBox="1"/>
            <p:nvPr/>
          </p:nvSpPr>
          <p:spPr>
            <a:xfrm>
              <a:off x="3321425" y="1816635"/>
              <a:ext cx="2514603" cy="1842931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fr-FR" sz="1400" b="1" noProof="0">
                  <a:solidFill>
                    <a:schemeClr val="accent1"/>
                  </a:solidFill>
                  <a:latin typeface="Montserrat"/>
                  <a:cs typeface="Arial"/>
                </a:rPr>
                <a:t>Open Source</a:t>
              </a:r>
              <a:r>
                <a:rPr lang="fr-FR" sz="1400" b="1">
                  <a:solidFill>
                    <a:schemeClr val="accent1"/>
                  </a:solidFill>
                  <a:latin typeface="Montserrat"/>
                  <a:cs typeface="Arial"/>
                </a:rPr>
                <a:t> Governance Expert</a:t>
              </a:r>
              <a:r>
                <a:rPr lang="fr-FR" sz="1400" b="1" noProof="0">
                  <a:solidFill>
                    <a:schemeClr val="accent1"/>
                  </a:solidFill>
                  <a:latin typeface="Montserrat"/>
                  <a:cs typeface="Arial"/>
                </a:rPr>
                <a:t> </a:t>
              </a:r>
            </a:p>
          </p:txBody>
        </p:sp>
      </p:grpSp>
      <p:grpSp>
        <p:nvGrpSpPr>
          <p:cNvPr id="190" name="object 9">
            <a:extLst>
              <a:ext uri="{FF2B5EF4-FFF2-40B4-BE49-F238E27FC236}">
                <a16:creationId xmlns:a16="http://schemas.microsoft.com/office/drawing/2014/main" id="{9439C802-ED35-84DA-1644-21A1D5F028BB}"/>
              </a:ext>
            </a:extLst>
          </p:cNvPr>
          <p:cNvGrpSpPr/>
          <p:nvPr/>
        </p:nvGrpSpPr>
        <p:grpSpPr>
          <a:xfrm>
            <a:off x="6766117" y="1174183"/>
            <a:ext cx="12700" cy="3276000"/>
            <a:chOff x="2072349" y="6697807"/>
            <a:chExt cx="12700" cy="2066289"/>
          </a:xfrm>
        </p:grpSpPr>
        <p:sp>
          <p:nvSpPr>
            <p:cNvPr id="191" name="object 10">
              <a:extLst>
                <a:ext uri="{FF2B5EF4-FFF2-40B4-BE49-F238E27FC236}">
                  <a16:creationId xmlns:a16="http://schemas.microsoft.com/office/drawing/2014/main" id="{4F5AEB80-1001-3A4E-0C86-25E266BEC8A5}"/>
                </a:ext>
              </a:extLst>
            </p:cNvPr>
            <p:cNvSpPr/>
            <p:nvPr/>
          </p:nvSpPr>
          <p:spPr>
            <a:xfrm>
              <a:off x="2078699" y="6723168"/>
              <a:ext cx="0" cy="1996439"/>
            </a:xfrm>
            <a:custGeom>
              <a:avLst/>
              <a:gdLst/>
              <a:ahLst/>
              <a:cxnLst/>
              <a:rect l="l" t="t" r="r" b="b"/>
              <a:pathLst>
                <a:path h="1996440">
                  <a:moveTo>
                    <a:pt x="0" y="199630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B2B2B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  <p:sp>
          <p:nvSpPr>
            <p:cNvPr id="192" name="object 11">
              <a:extLst>
                <a:ext uri="{FF2B5EF4-FFF2-40B4-BE49-F238E27FC236}">
                  <a16:creationId xmlns:a16="http://schemas.microsoft.com/office/drawing/2014/main" id="{341BF227-7515-AEDA-CBB8-52751CA649B3}"/>
                </a:ext>
              </a:extLst>
            </p:cNvPr>
            <p:cNvSpPr/>
            <p:nvPr/>
          </p:nvSpPr>
          <p:spPr>
            <a:xfrm>
              <a:off x="2072347" y="6697814"/>
              <a:ext cx="12700" cy="2066289"/>
            </a:xfrm>
            <a:custGeom>
              <a:avLst/>
              <a:gdLst/>
              <a:ahLst/>
              <a:cxnLst/>
              <a:rect l="l" t="t" r="r" b="b"/>
              <a:pathLst>
                <a:path w="12700" h="2066290">
                  <a:moveTo>
                    <a:pt x="12700" y="2059686"/>
                  </a:moveTo>
                  <a:lnTo>
                    <a:pt x="10833" y="2055190"/>
                  </a:lnTo>
                  <a:lnTo>
                    <a:pt x="6350" y="2053336"/>
                  </a:lnTo>
                  <a:lnTo>
                    <a:pt x="1854" y="2055190"/>
                  </a:lnTo>
                  <a:lnTo>
                    <a:pt x="0" y="2059686"/>
                  </a:lnTo>
                  <a:lnTo>
                    <a:pt x="1854" y="2064169"/>
                  </a:lnTo>
                  <a:lnTo>
                    <a:pt x="6350" y="2066036"/>
                  </a:lnTo>
                  <a:lnTo>
                    <a:pt x="10833" y="2064169"/>
                  </a:lnTo>
                  <a:lnTo>
                    <a:pt x="12700" y="2059686"/>
                  </a:lnTo>
                  <a:close/>
                </a:path>
                <a:path w="12700" h="2066290">
                  <a:moveTo>
                    <a:pt x="12700" y="6350"/>
                  </a:moveTo>
                  <a:lnTo>
                    <a:pt x="10833" y="1854"/>
                  </a:lnTo>
                  <a:lnTo>
                    <a:pt x="6350" y="0"/>
                  </a:lnTo>
                  <a:lnTo>
                    <a:pt x="1854" y="1854"/>
                  </a:lnTo>
                  <a:lnTo>
                    <a:pt x="0" y="6350"/>
                  </a:lnTo>
                  <a:lnTo>
                    <a:pt x="1854" y="10833"/>
                  </a:lnTo>
                  <a:lnTo>
                    <a:pt x="6350" y="12700"/>
                  </a:lnTo>
                  <a:lnTo>
                    <a:pt x="10833" y="10833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B2B2B2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fr-FR" noProof="0">
                <a:ea typeface="+mn-ea"/>
              </a:endParaRPr>
            </a:p>
          </p:txBody>
        </p:sp>
      </p:grpSp>
      <p:grpSp>
        <p:nvGrpSpPr>
          <p:cNvPr id="196" name="Groupe 195">
            <a:extLst>
              <a:ext uri="{FF2B5EF4-FFF2-40B4-BE49-F238E27FC236}">
                <a16:creationId xmlns:a16="http://schemas.microsoft.com/office/drawing/2014/main" id="{085CB3C0-60C5-5F72-BF89-10300ABB0283}"/>
              </a:ext>
            </a:extLst>
          </p:cNvPr>
          <p:cNvGrpSpPr/>
          <p:nvPr/>
        </p:nvGrpSpPr>
        <p:grpSpPr>
          <a:xfrm>
            <a:off x="6893310" y="1106381"/>
            <a:ext cx="1957304" cy="1809860"/>
            <a:chOff x="2801328" y="994502"/>
            <a:chExt cx="3485022" cy="3487192"/>
          </a:xfrm>
        </p:grpSpPr>
        <p:grpSp>
          <p:nvGrpSpPr>
            <p:cNvPr id="197" name="Groupe 196">
              <a:extLst>
                <a:ext uri="{FF2B5EF4-FFF2-40B4-BE49-F238E27FC236}">
                  <a16:creationId xmlns:a16="http://schemas.microsoft.com/office/drawing/2014/main" id="{44923FA8-7779-4E7D-FDF7-0044615A5D8E}"/>
                </a:ext>
              </a:extLst>
            </p:cNvPr>
            <p:cNvGrpSpPr/>
            <p:nvPr/>
          </p:nvGrpSpPr>
          <p:grpSpPr>
            <a:xfrm>
              <a:off x="2801328" y="994502"/>
              <a:ext cx="3485022" cy="3487192"/>
              <a:chOff x="2801328" y="994502"/>
              <a:chExt cx="3485022" cy="3487192"/>
            </a:xfrm>
          </p:grpSpPr>
          <p:sp>
            <p:nvSpPr>
              <p:cNvPr id="199" name="Oval 80">
                <a:extLst>
                  <a:ext uri="{FF2B5EF4-FFF2-40B4-BE49-F238E27FC236}">
                    <a16:creationId xmlns:a16="http://schemas.microsoft.com/office/drawing/2014/main" id="{BDBEBC4F-C606-A400-D8FA-4B8CF0F5C1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1328" y="994502"/>
                <a:ext cx="3485022" cy="3487192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Oval 80">
                <a:extLst>
                  <a:ext uri="{FF2B5EF4-FFF2-40B4-BE49-F238E27FC236}">
                    <a16:creationId xmlns:a16="http://schemas.microsoft.com/office/drawing/2014/main" id="{67A36180-07F9-115F-B2BB-8E13D14F69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165" y="1298368"/>
                <a:ext cx="2877670" cy="2879462"/>
              </a:xfrm>
              <a:prstGeom prst="ellipse">
                <a:avLst/>
              </a:prstGeom>
              <a:gradFill>
                <a:gsLst>
                  <a:gs pos="66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235593" sx="102000" sy="102000" algn="ctr" rotWithShape="0">
                  <a:prstClr val="black">
                    <a:alpha val="15912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fr-FR" sz="1800" noProof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8" name="ZoneTexte 197">
              <a:extLst>
                <a:ext uri="{FF2B5EF4-FFF2-40B4-BE49-F238E27FC236}">
                  <a16:creationId xmlns:a16="http://schemas.microsoft.com/office/drawing/2014/main" id="{3CA589FF-CFBC-5C5C-36EE-E23B1AEFEC90}"/>
                </a:ext>
              </a:extLst>
            </p:cNvPr>
            <p:cNvSpPr txBox="1"/>
            <p:nvPr/>
          </p:nvSpPr>
          <p:spPr>
            <a:xfrm>
              <a:off x="3321424" y="1818926"/>
              <a:ext cx="2514602" cy="1838349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fr-FR" sz="1400" b="1" noProof="0">
                  <a:solidFill>
                    <a:schemeClr val="accent1"/>
                  </a:solidFill>
                  <a:latin typeface="Montserrat"/>
                  <a:cs typeface="Arial"/>
                </a:rPr>
                <a:t>Open Source</a:t>
              </a:r>
              <a:r>
                <a:rPr lang="fr-FR" sz="1400" b="1">
                  <a:solidFill>
                    <a:schemeClr val="accent1"/>
                  </a:solidFill>
                  <a:latin typeface="Montserrat"/>
                  <a:cs typeface="Arial"/>
                </a:rPr>
                <a:t> Technical Lead</a:t>
              </a:r>
              <a:r>
                <a:rPr lang="fr-FR" sz="1400" b="1" noProof="0">
                  <a:solidFill>
                    <a:schemeClr val="accent1"/>
                  </a:solidFill>
                  <a:latin typeface="Montserrat"/>
                  <a:cs typeface="Arial"/>
                </a:rPr>
                <a:t> </a:t>
              </a:r>
              <a:endParaRPr lang="fr-FR" sz="1400" b="1" noProof="0">
                <a:solidFill>
                  <a:schemeClr val="accent1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201" name="ZoneTexte 200">
            <a:extLst>
              <a:ext uri="{FF2B5EF4-FFF2-40B4-BE49-F238E27FC236}">
                <a16:creationId xmlns:a16="http://schemas.microsoft.com/office/drawing/2014/main" id="{7027CD24-D951-F37E-7BF9-8041575CC4A7}"/>
              </a:ext>
            </a:extLst>
          </p:cNvPr>
          <p:cNvSpPr txBox="1"/>
          <p:nvPr/>
        </p:nvSpPr>
        <p:spPr>
          <a:xfrm>
            <a:off x="2622334" y="3212645"/>
            <a:ext cx="1683603" cy="15788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indent="-173355" algn="ctr">
              <a:lnSpc>
                <a:spcPct val="85000"/>
              </a:lnSpc>
              <a:spcAft>
                <a:spcPts val="600"/>
              </a:spcAft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Market monitoring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lnSpc>
                <a:spcPct val="85000"/>
              </a:lnSpc>
              <a:spcAft>
                <a:spcPts val="600"/>
              </a:spcAft>
              <a:buFont typeface="Wingdings"/>
              <a:buChar char="ü"/>
            </a:pPr>
            <a:r>
              <a:rPr lang="fr-FR" sz="1200" noProof="0">
                <a:ea typeface="+mn-lt"/>
                <a:cs typeface="+mn-lt"/>
              </a:rPr>
              <a:t>Coordination </a:t>
            </a:r>
            <a:r>
              <a:rPr lang="fr-FR" sz="1200">
                <a:ea typeface="+mn-lt"/>
                <a:cs typeface="+mn-lt"/>
              </a:rPr>
              <a:t>with the external ecosystem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lnSpc>
                <a:spcPct val="85000"/>
              </a:lnSpc>
              <a:spcAft>
                <a:spcPts val="600"/>
              </a:spcAft>
              <a:buFont typeface="Wingdings"/>
              <a:buChar char="ü"/>
            </a:pPr>
            <a:r>
              <a:rPr lang="fr-FR" sz="12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acilitation</a:t>
            </a:r>
            <a:r>
              <a:rPr lang="fr-FR" sz="1200">
                <a:ea typeface="+mn-lt"/>
                <a:cs typeface="+mn-lt"/>
              </a:rPr>
              <a:t>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lnSpc>
                <a:spcPct val="85000"/>
              </a:lnSpc>
              <a:spcAft>
                <a:spcPts val="600"/>
              </a:spcAft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Study of </a:t>
            </a:r>
            <a:r>
              <a:rPr lang="fr-FR" sz="1200" noProof="0">
                <a:ea typeface="+mn-lt"/>
                <a:cs typeface="+mn-lt"/>
              </a:rPr>
              <a:t>Open Source</a:t>
            </a:r>
            <a:r>
              <a:rPr lang="fr-FR" sz="1200">
                <a:ea typeface="+mn-lt"/>
                <a:cs typeface="+mn-lt"/>
              </a:rPr>
              <a:t> product governance</a:t>
            </a:r>
            <a:r>
              <a:rPr lang="fr-FR" sz="1200" noProof="0">
                <a:ea typeface="+mn-lt"/>
                <a:cs typeface="+mn-lt"/>
              </a:rPr>
              <a:t>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6F485A4-43F5-2012-DAA5-4D63626C8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0072" y="90900"/>
            <a:ext cx="7704856" cy="337362"/>
          </a:xfrm>
        </p:spPr>
        <p:txBody>
          <a:bodyPr/>
          <a:lstStyle/>
          <a:p>
            <a:r>
              <a:rPr lang="fr-FR"/>
              <a:t>Establishing the </a:t>
            </a:r>
            <a:r>
              <a:rPr lang="fr-FR" noProof="0"/>
              <a:t>open source</a:t>
            </a:r>
            <a:r>
              <a:rPr lang="fr-FR"/>
              <a:t> team</a:t>
            </a:r>
            <a:endParaRPr lang="en-US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99CE30DE-F75F-32D2-E7DD-1FAD91A5765C}"/>
              </a:ext>
            </a:extLst>
          </p:cNvPr>
          <p:cNvSpPr txBox="1">
            <a:spLocks/>
          </p:cNvSpPr>
          <p:nvPr/>
        </p:nvSpPr>
        <p:spPr>
          <a:xfrm>
            <a:off x="535451" y="630001"/>
            <a:ext cx="8152213" cy="2880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None/>
              <a:tabLst/>
              <a:defRPr sz="1400" b="0" i="0" kern="1200" baseline="0">
                <a:solidFill>
                  <a:srgbClr val="B24388"/>
                </a:solidFill>
                <a:latin typeface="Montserrat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latin typeface="Montserrat"/>
                <a:cs typeface="Arial"/>
              </a:rPr>
              <a:t>A team to develop </a:t>
            </a:r>
            <a:r>
              <a:rPr lang="fr-FR" noProof="0">
                <a:latin typeface="Montserrat"/>
                <a:cs typeface="Arial"/>
              </a:rPr>
              <a:t>OS </a:t>
            </a:r>
            <a:r>
              <a:rPr lang="fr-FR">
                <a:latin typeface="Montserrat"/>
                <a:cs typeface="Arial"/>
              </a:rPr>
              <a:t>expertise within the Group</a:t>
            </a:r>
            <a:endParaRPr lang="fr-FR" noProof="0">
              <a:latin typeface="Montserrat"/>
              <a:cs typeface="Arial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A0BC840-EA22-FECB-13D3-72F35DC0DA0D}"/>
              </a:ext>
            </a:extLst>
          </p:cNvPr>
          <p:cNvSpPr txBox="1"/>
          <p:nvPr/>
        </p:nvSpPr>
        <p:spPr>
          <a:xfrm>
            <a:off x="4743000" y="3053250"/>
            <a:ext cx="2097000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Structuring </a:t>
            </a:r>
            <a:r>
              <a:rPr lang="fr-FR" sz="1200" noProof="0">
                <a:ea typeface="+mn-lt"/>
                <a:cs typeface="+mn-lt"/>
              </a:rPr>
              <a:t>&amp; </a:t>
            </a:r>
            <a:r>
              <a:rPr lang="fr-FR" sz="1200">
                <a:ea typeface="+mn-lt"/>
                <a:cs typeface="+mn-lt"/>
              </a:rPr>
              <a:t>steering the </a:t>
            </a:r>
            <a:r>
              <a:rPr lang="fr-FR" sz="1200" noProof="0">
                <a:ea typeface="+mn-lt"/>
                <a:cs typeface="+mn-lt"/>
              </a:rPr>
              <a:t>OS </a:t>
            </a:r>
            <a:r>
              <a:rPr lang="fr-FR" sz="1200">
                <a:ea typeface="+mn-lt"/>
                <a:cs typeface="+mn-lt"/>
              </a:rPr>
              <a:t>upstream contribution program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Structuring </a:t>
            </a:r>
            <a:r>
              <a:rPr lang="fr-FR" sz="1200" noProof="0">
                <a:ea typeface="+mn-lt"/>
                <a:cs typeface="+mn-lt"/>
              </a:rPr>
              <a:t>&amp; </a:t>
            </a:r>
            <a:r>
              <a:rPr lang="fr-FR" sz="1200">
                <a:ea typeface="+mn-lt"/>
                <a:cs typeface="+mn-lt"/>
              </a:rPr>
              <a:t>steering the </a:t>
            </a:r>
            <a:r>
              <a:rPr lang="fr-FR" sz="1200" noProof="0">
                <a:ea typeface="+mn-lt"/>
                <a:cs typeface="+mn-lt"/>
              </a:rPr>
              <a:t>OS </a:t>
            </a:r>
            <a:r>
              <a:rPr lang="fr-FR" sz="1200">
                <a:ea typeface="+mn-lt"/>
                <a:cs typeface="+mn-lt"/>
              </a:rPr>
              <a:t>contribution </a:t>
            </a:r>
            <a:r>
              <a:rPr lang="fr-FR" sz="12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ogram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Scoping </a:t>
            </a:r>
            <a:r>
              <a:rPr lang="fr-FR" sz="1200" noProof="0">
                <a:ea typeface="+mn-lt"/>
                <a:cs typeface="+mn-lt"/>
              </a:rPr>
              <a:t>Inner Source </a:t>
            </a:r>
            <a:r>
              <a:rPr lang="fr-FR" sz="1200">
                <a:ea typeface="+mn-lt"/>
                <a:cs typeface="+mn-lt"/>
              </a:rPr>
              <a:t>governance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 noProof="0">
                <a:ea typeface="+mn-lt"/>
                <a:cs typeface="+mn-lt"/>
              </a:rPr>
              <a:t>Documentation</a:t>
            </a:r>
            <a:endParaRPr lang="en-US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A837AAA-4D37-0D5C-5467-4D6D75E2453F}"/>
              </a:ext>
            </a:extLst>
          </p:cNvPr>
          <p:cNvSpPr txBox="1"/>
          <p:nvPr/>
        </p:nvSpPr>
        <p:spPr>
          <a:xfrm>
            <a:off x="6894000" y="3053249"/>
            <a:ext cx="2097000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Definition of the </a:t>
            </a:r>
            <a:r>
              <a:rPr lang="fr-FR" sz="1200" noProof="0">
                <a:ea typeface="+mn-lt"/>
                <a:cs typeface="+mn-lt"/>
              </a:rPr>
              <a:t>contribution </a:t>
            </a:r>
            <a:r>
              <a:rPr lang="fr-FR" sz="1200">
                <a:ea typeface="+mn-lt"/>
                <a:cs typeface="+mn-lt"/>
              </a:rPr>
              <a:t>CI/CD pipeline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finition of the </a:t>
            </a:r>
            <a:r>
              <a:rPr lang="fr-FR" sz="1200">
                <a:ea typeface="+mn-lt"/>
                <a:cs typeface="+mn-lt"/>
              </a:rPr>
              <a:t>upstream contribution CI/CD </a:t>
            </a:r>
            <a:r>
              <a:rPr lang="fr-FR" sz="12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ipeline</a:t>
            </a:r>
            <a:r>
              <a:rPr lang="fr-FR" sz="1200">
                <a:ea typeface="+mn-lt"/>
                <a:cs typeface="+mn-lt"/>
              </a:rPr>
              <a:t>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Implementation of technical pipelines </a:t>
            </a:r>
            <a:endParaRPr lang="fr-FR" sz="1200" noProof="0">
              <a:ea typeface="+mn-lt"/>
              <a:cs typeface="+mn-lt"/>
            </a:endParaRPr>
          </a:p>
          <a:p>
            <a:pPr indent="-173355" algn="ctr">
              <a:buFont typeface="Wingdings"/>
              <a:buChar char="ü"/>
            </a:pPr>
            <a:r>
              <a:rPr lang="fr-FR" sz="1200">
                <a:ea typeface="+mn-lt"/>
                <a:cs typeface="+mn-lt"/>
              </a:rPr>
              <a:t>Sharing with the </a:t>
            </a:r>
            <a:r>
              <a:rPr lang="fr-FR" sz="1200" noProof="0">
                <a:ea typeface="+mn-lt"/>
                <a:cs typeface="+mn-lt"/>
              </a:rPr>
              <a:t>Devops BPCE IT </a:t>
            </a:r>
            <a:r>
              <a:rPr lang="fr-FR" sz="1200">
                <a:ea typeface="+mn-lt"/>
                <a:cs typeface="+mn-lt"/>
              </a:rPr>
              <a:t>teams</a:t>
            </a:r>
            <a:r>
              <a:rPr lang="fr-FR" sz="12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4045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5E72E4-E481-B2CD-EACD-B892FF41C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3773955-59C1-CC6D-B580-28E52E1D8366}"/>
              </a:ext>
            </a:extLst>
          </p:cNvPr>
          <p:cNvSpPr>
            <a:spLocks/>
          </p:cNvSpPr>
          <p:nvPr/>
        </p:nvSpPr>
        <p:spPr>
          <a:xfrm>
            <a:off x="-4" y="4043693"/>
            <a:ext cx="9144004" cy="853239"/>
          </a:xfrm>
          <a:prstGeom prst="rect">
            <a:avLst/>
          </a:prstGeom>
          <a:gradFill flip="none" rotWithShape="1">
            <a:gsLst>
              <a:gs pos="0">
                <a:srgbClr val="1A0046"/>
              </a:gs>
              <a:gs pos="100000">
                <a:srgbClr val="581D74">
                  <a:alpha val="81476"/>
                </a:srgbClr>
              </a:gs>
              <a:gs pos="58000">
                <a:srgbClr val="8A5599">
                  <a:alpha val="69474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3DA5531-2A88-5A1B-0A1E-33723060208F}"/>
              </a:ext>
            </a:extLst>
          </p:cNvPr>
          <p:cNvSpPr>
            <a:spLocks/>
          </p:cNvSpPr>
          <p:nvPr/>
        </p:nvSpPr>
        <p:spPr>
          <a:xfrm>
            <a:off x="-4" y="1523309"/>
            <a:ext cx="9144004" cy="26362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sym typeface="Arial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48C5298-DF02-1B0F-52D1-84CC83212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he Open Source Team’s Mission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E536BD2-18B0-5442-0C0C-E064C775BA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51" y="612001"/>
            <a:ext cx="8152213" cy="288032"/>
          </a:xfrm>
        </p:spPr>
        <p:txBody>
          <a:bodyPr>
            <a:normAutofit/>
          </a:bodyPr>
          <a:lstStyle/>
          <a:p>
            <a:r>
              <a:rPr lang="fr-FR"/>
              <a:t>A practical implementation of the strategy defined by the Group’s Open Source pillars</a:t>
            </a:r>
          </a:p>
        </p:txBody>
      </p:sp>
      <p:sp>
        <p:nvSpPr>
          <p:cNvPr id="47" name="Rectangle : avec coins arrondis en haut 46">
            <a:extLst>
              <a:ext uri="{FF2B5EF4-FFF2-40B4-BE49-F238E27FC236}">
                <a16:creationId xmlns:a16="http://schemas.microsoft.com/office/drawing/2014/main" id="{D47E770E-1CFD-B490-037C-C49E4F18DB2A}"/>
              </a:ext>
            </a:extLst>
          </p:cNvPr>
          <p:cNvSpPr/>
          <p:nvPr/>
        </p:nvSpPr>
        <p:spPr>
          <a:xfrm>
            <a:off x="3331541" y="976715"/>
            <a:ext cx="2592000" cy="513329"/>
          </a:xfrm>
          <a:prstGeom prst="round2SameRect">
            <a:avLst/>
          </a:prstGeom>
          <a:solidFill>
            <a:srgbClr val="8A55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44000" rtlCol="0" anchor="ctr"/>
          <a:lstStyle/>
          <a:p>
            <a:pPr lvl="0" algn="ctr">
              <a:lnSpc>
                <a:spcPct val="90000"/>
              </a:lnSpc>
              <a:spcBef>
                <a:spcPts val="400"/>
              </a:spcBef>
              <a:buClr>
                <a:srgbClr val="B34A8C"/>
              </a:buClr>
              <a:defRPr/>
            </a:pPr>
            <a:r>
              <a:rPr lang="fr-FR" sz="1000" b="1" kern="0">
                <a:solidFill>
                  <a:srgbClr val="FFFFFF"/>
                </a:solidFill>
                <a:latin typeface="Montserrat" panose="00000500000000000000" pitchFamily="2" charset="0"/>
                <a:cs typeface="Arial" panose="020B0604020202020204" pitchFamily="34" charset="0"/>
                <a:sym typeface="Arial"/>
              </a:rPr>
              <a:t>Promoting a collaborative culture around Open Source</a:t>
            </a:r>
          </a:p>
        </p:txBody>
      </p:sp>
      <p:sp>
        <p:nvSpPr>
          <p:cNvPr id="48" name="Rectangle : avec coins arrondis en haut 47">
            <a:extLst>
              <a:ext uri="{FF2B5EF4-FFF2-40B4-BE49-F238E27FC236}">
                <a16:creationId xmlns:a16="http://schemas.microsoft.com/office/drawing/2014/main" id="{127AE221-5CDA-AAC5-886F-86DB0FDAC5EB}"/>
              </a:ext>
            </a:extLst>
          </p:cNvPr>
          <p:cNvSpPr/>
          <p:nvPr/>
        </p:nvSpPr>
        <p:spPr>
          <a:xfrm>
            <a:off x="424927" y="979632"/>
            <a:ext cx="2592000" cy="506431"/>
          </a:xfrm>
          <a:prstGeom prst="round2SameRect">
            <a:avLst/>
          </a:prstGeom>
          <a:solidFill>
            <a:srgbClr val="581D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B34A8C"/>
              </a:buClr>
              <a:buSzTx/>
              <a:buFont typeface="Cambria Math" panose="02040503050406030204" pitchFamily="18" charset="0"/>
              <a:buNone/>
              <a:tabLst/>
              <a:defRPr/>
            </a:pPr>
            <a:r>
              <a:rPr lang="fr-FR" sz="1000" b="1" kern="0">
                <a:solidFill>
                  <a:srgbClr val="FFFFFF"/>
                </a:solidFill>
                <a:latin typeface="Montserrat" panose="00000500000000000000" pitchFamily="2" charset="0"/>
                <a:cs typeface="Arial" panose="020B0604020202020204" pitchFamily="34" charset="0"/>
                <a:sym typeface="Arial"/>
              </a:rPr>
              <a:t>Securing the use of Open Source</a:t>
            </a:r>
            <a:endParaRPr kumimoji="0" lang="fr-FR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Rectangle : avec coins arrondis en haut 48">
            <a:extLst>
              <a:ext uri="{FF2B5EF4-FFF2-40B4-BE49-F238E27FC236}">
                <a16:creationId xmlns:a16="http://schemas.microsoft.com/office/drawing/2014/main" id="{2BC162EC-8824-C4DC-8771-47DCC8532FE4}"/>
              </a:ext>
            </a:extLst>
          </p:cNvPr>
          <p:cNvSpPr/>
          <p:nvPr/>
        </p:nvSpPr>
        <p:spPr>
          <a:xfrm>
            <a:off x="6280171" y="983951"/>
            <a:ext cx="2592000" cy="520847"/>
          </a:xfrm>
          <a:prstGeom prst="round2SameRect">
            <a:avLst/>
          </a:prstGeom>
          <a:solidFill>
            <a:srgbClr val="55579E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44000" tIns="45720" rIns="91440" bIns="45720" rtlCol="0" anchor="ctr"/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B34A8C"/>
              </a:buClr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cs typeface="Arial"/>
                <a:sym typeface="Arial"/>
              </a:rPr>
              <a:t>R&amp;D, innovation &amp; Inner Source</a:t>
            </a:r>
            <a:endParaRPr kumimoji="0" lang="fr-FR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100B60F4-3A4A-AD06-DDC7-CE9304CBA17A}"/>
              </a:ext>
            </a:extLst>
          </p:cNvPr>
          <p:cNvSpPr/>
          <p:nvPr/>
        </p:nvSpPr>
        <p:spPr>
          <a:xfrm>
            <a:off x="3530472" y="3228692"/>
            <a:ext cx="2160000" cy="828000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xternal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engage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Be a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leading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player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in the Open Source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cosystem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benefit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from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xternal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feedback and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working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groups</a:t>
            </a:r>
            <a:endParaRPr lang="fr-FR" sz="900" kern="0" dirty="0">
              <a:solidFill>
                <a:schemeClr val="tx1"/>
              </a:solidFill>
              <a:latin typeface="Montserrat" panose="000005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F575418C-9132-561E-194F-82D047A49CDA}"/>
              </a:ext>
            </a:extLst>
          </p:cNvPr>
          <p:cNvSpPr/>
          <p:nvPr/>
        </p:nvSpPr>
        <p:spPr>
          <a:xfrm>
            <a:off x="3530472" y="1651037"/>
            <a:ext cx="2160000" cy="727467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Awareness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train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Develop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awareness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training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strategy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to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ducate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our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business teams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with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dedicated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budget</a:t>
            </a:r>
            <a:endParaRPr lang="fr-FR" sz="900" kern="0" dirty="0">
              <a:solidFill>
                <a:schemeClr val="tx1"/>
              </a:solidFill>
              <a:latin typeface="Montserrat" panose="00000500000000000000" pitchFamily="2" charset="0"/>
              <a:ea typeface="Roboto Light" panose="02000000000000000000" pitchFamily="2" charset="0"/>
            </a:endParaRP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3B6DE22D-2AD9-4A0D-419F-ECD045CCAC2E}"/>
              </a:ext>
            </a:extLst>
          </p:cNvPr>
          <p:cNvCxnSpPr>
            <a:cxnSpLocks/>
          </p:cNvCxnSpPr>
          <p:nvPr/>
        </p:nvCxnSpPr>
        <p:spPr>
          <a:xfrm>
            <a:off x="3177970" y="1504798"/>
            <a:ext cx="0" cy="26382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4DE384F5-99EB-9EDD-81DA-6682FF0AB3AD}"/>
              </a:ext>
            </a:extLst>
          </p:cNvPr>
          <p:cNvCxnSpPr>
            <a:cxnSpLocks/>
          </p:cNvCxnSpPr>
          <p:nvPr/>
        </p:nvCxnSpPr>
        <p:spPr>
          <a:xfrm>
            <a:off x="6090313" y="1504798"/>
            <a:ext cx="0" cy="26382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D75EB433-B1E2-DDB1-0E09-FCE79DDB57D1}"/>
              </a:ext>
            </a:extLst>
          </p:cNvPr>
          <p:cNvSpPr/>
          <p:nvPr/>
        </p:nvSpPr>
        <p:spPr>
          <a:xfrm>
            <a:off x="3530472" y="2441316"/>
            <a:ext cx="2160000" cy="727467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Internal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engage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Bring the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internal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community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together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(France &amp; Portugal) and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build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55579E">
                    <a:lumMod val="75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 collaborative open source culture</a:t>
            </a:r>
            <a:endParaRPr lang="fr-FR" sz="900" kern="0" dirty="0">
              <a:solidFill>
                <a:schemeClr val="tx1"/>
              </a:solidFill>
              <a:latin typeface="Montserrat" panose="000005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33142F4F-B0CB-4BD5-889E-F37A9BD9B5C4}"/>
              </a:ext>
            </a:extLst>
          </p:cNvPr>
          <p:cNvSpPr/>
          <p:nvPr/>
        </p:nvSpPr>
        <p:spPr>
          <a:xfrm>
            <a:off x="488125" y="3384129"/>
            <a:ext cx="2339998" cy="679606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10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Support and operating model</a:t>
            </a:r>
          </a:p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Help support Open Source software to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nsure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the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sustainability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reliability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of the solutions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adopted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by the Group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ontserrat" panose="00000500000000000000" pitchFamily="2" charset="0"/>
              <a:ea typeface="Roboto Light" panose="02000000000000000000" pitchFamily="2" charset="0"/>
              <a:sym typeface="Arial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B5E59919-B9E6-EBC9-C03A-D1DF5BA7A8ED}"/>
              </a:ext>
            </a:extLst>
          </p:cNvPr>
          <p:cNvSpPr/>
          <p:nvPr/>
        </p:nvSpPr>
        <p:spPr>
          <a:xfrm>
            <a:off x="488125" y="2535796"/>
            <a:ext cx="2340000" cy="768744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lvl="0"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Governance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compliance</a:t>
            </a:r>
          </a:p>
          <a:p>
            <a:pPr lvl="0"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nsure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compliance of the Open Source software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used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(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consumption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&amp; contributions) in collaboration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with</a:t>
            </a:r>
            <a:r>
              <a:rPr lang="fr-FR" sz="900" b="1" kern="0" dirty="0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Security and the Legal </a:t>
            </a:r>
            <a:r>
              <a:rPr lang="fr-FR" sz="900" b="1" kern="0" dirty="0" err="1">
                <a:solidFill>
                  <a:schemeClr val="accent1"/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Department</a:t>
            </a:r>
            <a:endParaRPr lang="fr-FR" sz="800" kern="0" dirty="0">
              <a:solidFill>
                <a:schemeClr val="tx1"/>
              </a:solidFill>
              <a:latin typeface="Montserrat" panose="00000500000000000000" pitchFamily="2" charset="0"/>
              <a:ea typeface="Roboto Light" panose="02000000000000000000" pitchFamily="2" charset="0"/>
              <a:sym typeface="Arial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BDAB04E-4557-E855-959C-31143AA8E646}"/>
              </a:ext>
            </a:extLst>
          </p:cNvPr>
          <p:cNvSpPr/>
          <p:nvPr/>
        </p:nvSpPr>
        <p:spPr>
          <a:xfrm>
            <a:off x="6376485" y="1634672"/>
            <a:ext cx="2409419" cy="1008775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105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Monitoring and alternative </a:t>
            </a:r>
            <a:r>
              <a:rPr lang="fr-FR" sz="105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assessment</a:t>
            </a:r>
            <a:endParaRPr lang="fr-FR" sz="1050" b="1" kern="0" dirty="0">
              <a:solidFill>
                <a:srgbClr val="55579E">
                  <a:lumMod val="75000"/>
                </a:srgbClr>
              </a:solidFill>
              <a:latin typeface="Montserrat"/>
              <a:ea typeface="Roboto Light"/>
              <a:sym typeface="Arial"/>
            </a:endParaRPr>
          </a:p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Carry out active monitoring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review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 Open Source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licenses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and issue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recommendations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based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 on compliance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securit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viabilit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reliabilit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qualit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maturit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,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costs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 (Capex vs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OpEx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), and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  <a:sym typeface="Arial"/>
              </a:rPr>
              <a:t>status</a:t>
            </a:r>
            <a:endParaRPr lang="fr-FR" sz="800" kern="0" dirty="0">
              <a:solidFill>
                <a:schemeClr val="tx1"/>
              </a:solidFill>
              <a:latin typeface="Montserrat"/>
              <a:ea typeface="Roboto Ligh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6387FB0-92E3-37CF-2117-B44E34B520E8}"/>
              </a:ext>
            </a:extLst>
          </p:cNvPr>
          <p:cNvSpPr txBox="1"/>
          <p:nvPr/>
        </p:nvSpPr>
        <p:spPr>
          <a:xfrm>
            <a:off x="0" y="4252124"/>
            <a:ext cx="447324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These missions ensure consistency in open source practices across the Group while stimulating innovation and facilitating the adoption of solutions</a:t>
            </a:r>
            <a:endParaRPr lang="fr-FR" sz="900">
              <a:solidFill>
                <a:srgbClr val="FFFFFF"/>
              </a:solidFill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EA17164-39BB-D35B-875A-9E7852C221A9}"/>
              </a:ext>
            </a:extLst>
          </p:cNvPr>
          <p:cNvSpPr txBox="1"/>
          <p:nvPr/>
        </p:nvSpPr>
        <p:spPr>
          <a:xfrm>
            <a:off x="4796057" y="4277937"/>
            <a:ext cx="425758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The Open Source team is a central player in ensuring the efficiency, governance, and success of open source integration in the Group’s activities</a:t>
            </a:r>
            <a:endParaRPr lang="fr-FR" sz="900">
              <a:solidFill>
                <a:srgbClr val="FFFFFF"/>
              </a:solidFill>
              <a:latin typeface="Montserrat" pitchFamily="2" charset="77"/>
              <a:cs typeface="Arial" panose="020B0604020202020204" pitchFamily="34" charset="0"/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D7C2E440-2835-6330-44AA-016AB08169A3}"/>
              </a:ext>
            </a:extLst>
          </p:cNvPr>
          <p:cNvCxnSpPr>
            <a:cxnSpLocks/>
          </p:cNvCxnSpPr>
          <p:nvPr/>
        </p:nvCxnSpPr>
        <p:spPr>
          <a:xfrm>
            <a:off x="4572000" y="4281768"/>
            <a:ext cx="0" cy="504000"/>
          </a:xfrm>
          <a:prstGeom prst="line">
            <a:avLst/>
          </a:prstGeom>
          <a:noFill/>
          <a:ln w="3175" cap="flat" cmpd="sng" algn="ctr">
            <a:solidFill>
              <a:srgbClr val="FFFFFF"/>
            </a:solidFill>
            <a:prstDash val="sysDot"/>
            <a:miter lim="800000"/>
          </a:ln>
          <a:effectLst/>
        </p:spPr>
      </p:cxn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57D39E03-312A-E111-42BC-4EFB7D889412}"/>
              </a:ext>
            </a:extLst>
          </p:cNvPr>
          <p:cNvSpPr/>
          <p:nvPr/>
        </p:nvSpPr>
        <p:spPr>
          <a:xfrm>
            <a:off x="6376484" y="2687070"/>
            <a:ext cx="2409418" cy="785767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fr-FR" sz="10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Project contributions</a:t>
            </a:r>
          </a:p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Identif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key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projects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and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contribute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to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them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activel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or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financially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to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strengthen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our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role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 in the Open Source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 panose="00000500000000000000" pitchFamily="2" charset="0"/>
                <a:ea typeface="Roboto Light" panose="02000000000000000000" pitchFamily="2" charset="0"/>
                <a:sym typeface="Arial"/>
              </a:rPr>
              <a:t>ecosystem</a:t>
            </a:r>
            <a:endParaRPr lang="fr-FR" sz="800" kern="0" dirty="0">
              <a:solidFill>
                <a:schemeClr val="tx1"/>
              </a:solidFill>
              <a:latin typeface="Montserrat"/>
              <a:ea typeface="Roboto Light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2BBC9A96-85C5-970C-F0C8-8FB4A71E8242}"/>
              </a:ext>
            </a:extLst>
          </p:cNvPr>
          <p:cNvSpPr/>
          <p:nvPr/>
        </p:nvSpPr>
        <p:spPr>
          <a:xfrm>
            <a:off x="6376484" y="3516460"/>
            <a:ext cx="2409417" cy="567849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fr-FR" sz="10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Inner</a:t>
            </a:r>
            <a:r>
              <a:rPr lang="fr-FR" sz="10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 Source at BPCE</a:t>
            </a:r>
          </a:p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Define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governance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models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 and </a:t>
            </a:r>
            <a:r>
              <a:rPr lang="fr-FR" sz="900" b="1" kern="0" dirty="0" err="1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promote</a:t>
            </a:r>
            <a:r>
              <a:rPr lang="fr-FR" sz="900" b="1" kern="0" dirty="0">
                <a:solidFill>
                  <a:srgbClr val="55579E">
                    <a:lumMod val="75000"/>
                  </a:srgbClr>
                </a:solidFill>
                <a:latin typeface="Montserrat"/>
                <a:ea typeface="Roboto Light"/>
              </a:rPr>
              <a:t> a collaborative culture</a:t>
            </a:r>
            <a:endParaRPr lang="fr-FR" sz="800" b="1" kern="0" dirty="0">
              <a:solidFill>
                <a:schemeClr val="tx1"/>
              </a:solidFill>
              <a:latin typeface="Montserrat"/>
              <a:ea typeface="Roboto Light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41A66467-0F4A-8F00-6219-0D57381798EE}"/>
              </a:ext>
            </a:extLst>
          </p:cNvPr>
          <p:cNvSpPr/>
          <p:nvPr/>
        </p:nvSpPr>
        <p:spPr>
          <a:xfrm>
            <a:off x="488124" y="1602463"/>
            <a:ext cx="2339998" cy="853539"/>
          </a:xfrm>
          <a:prstGeom prst="roundRect">
            <a:avLst>
              <a:gd name="adj" fmla="val 907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numCol="1" spcCol="180000" rtlCol="0" anchor="ctr" anchorCtr="0"/>
          <a:lstStyle/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Open Source mapping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across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the Group</a:t>
            </a:r>
          </a:p>
          <a:p>
            <a:pPr algn="ctr">
              <a:lnSpc>
                <a:spcPct val="90000"/>
              </a:lnSpc>
              <a:spcAft>
                <a:spcPts val="300"/>
              </a:spcAft>
              <a:defRPr/>
            </a:pP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Study Open Source software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across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the BPCE Group in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order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to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map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the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existing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landscape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in collaboration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with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BPCE IT and all the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Group’s</a:t>
            </a:r>
            <a:r>
              <a:rPr lang="fr-FR" sz="900" b="1" kern="0" dirty="0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 </a:t>
            </a:r>
            <a:r>
              <a:rPr lang="fr-FR" sz="900" b="1" kern="0" dirty="0" err="1">
                <a:solidFill>
                  <a:schemeClr val="accent1"/>
                </a:solidFill>
                <a:latin typeface="Montserrat"/>
                <a:ea typeface="Roboto Light"/>
                <a:sym typeface="Arial"/>
              </a:rPr>
              <a:t>publishers</a:t>
            </a:r>
            <a:endParaRPr lang="fr-FR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ontserrat"/>
              <a:ea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942458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255D85-20D2-D146-1ABC-A3167D39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 descr="Une image contenant plein air, nuage, ciel, Tour de grande hauteur&#10;&#10;Description générée automatiquement">
            <a:extLst>
              <a:ext uri="{FF2B5EF4-FFF2-40B4-BE49-F238E27FC236}">
                <a16:creationId xmlns:a16="http://schemas.microsoft.com/office/drawing/2014/main" id="{0428CB14-9865-5CA1-7A86-3F0B5D5AF20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848" r="6270"/>
          <a:stretch/>
        </p:blipFill>
        <p:spPr>
          <a:xfrm>
            <a:off x="142944" y="0"/>
            <a:ext cx="3276929" cy="5164138"/>
          </a:xfrm>
        </p:spPr>
      </p:pic>
      <p:grpSp>
        <p:nvGrpSpPr>
          <p:cNvPr id="31" name="Groupe 30">
            <a:extLst>
              <a:ext uri="{FF2B5EF4-FFF2-40B4-BE49-F238E27FC236}">
                <a16:creationId xmlns:a16="http://schemas.microsoft.com/office/drawing/2014/main" id="{90D4FDCA-9E76-D280-9A10-46A2A3F572A8}"/>
              </a:ext>
            </a:extLst>
          </p:cNvPr>
          <p:cNvGrpSpPr/>
          <p:nvPr/>
        </p:nvGrpSpPr>
        <p:grpSpPr>
          <a:xfrm>
            <a:off x="2609498" y="1726453"/>
            <a:ext cx="1980318" cy="1690595"/>
            <a:chOff x="2303748" y="1726453"/>
            <a:chExt cx="1980318" cy="169059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7B9D843-63D2-74F5-CEE0-CC5CA0750D7F}"/>
                </a:ext>
              </a:extLst>
            </p:cNvPr>
            <p:cNvSpPr/>
            <p:nvPr/>
          </p:nvSpPr>
          <p:spPr>
            <a:xfrm>
              <a:off x="2303748" y="1726453"/>
              <a:ext cx="1908212" cy="1690595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F6C9E2B-3E08-F328-EF5C-C938B22A0EE4}"/>
                </a:ext>
              </a:extLst>
            </p:cNvPr>
            <p:cNvSpPr/>
            <p:nvPr/>
          </p:nvSpPr>
          <p:spPr>
            <a:xfrm>
              <a:off x="2396028" y="1822485"/>
              <a:ext cx="1888038" cy="1498531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12F27C3-8AF5-40C0-2EB0-700D696B877E}"/>
                </a:ext>
              </a:extLst>
            </p:cNvPr>
            <p:cNvSpPr/>
            <p:nvPr/>
          </p:nvSpPr>
          <p:spPr>
            <a:xfrm>
              <a:off x="2492060" y="1918515"/>
              <a:ext cx="1719900" cy="13064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DE335577-3B43-90D8-12C6-C7953EB71A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>
                <a:solidFill>
                  <a:schemeClr val="accent1"/>
                </a:solidFill>
                <a:latin typeface="Montserrat ExtraBold"/>
              </a:rPr>
              <a:t>Governance: Open Source Authority </a:t>
            </a:r>
            <a:endParaRPr lang="en-US" sz="2800" err="1">
              <a:solidFill>
                <a:schemeClr val="accent1"/>
              </a:solidFill>
              <a:latin typeface="Montserrat ExtraBold"/>
            </a:endParaRP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C967BC37-17C0-3508-8027-9D099E4AAD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accent4"/>
                </a:solidFill>
                <a:latin typeface="Montserrat ExtraBold"/>
                <a:cs typeface="Arial"/>
              </a:rPr>
              <a:t>04</a:t>
            </a:r>
            <a:endParaRPr lang="en-US">
              <a:solidFill>
                <a:schemeClr val="accent4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36218F52-F9C0-0D12-2F92-1F370343ADD9}"/>
              </a:ext>
            </a:extLst>
          </p:cNvPr>
          <p:cNvCxnSpPr>
            <a:cxnSpLocks/>
          </p:cNvCxnSpPr>
          <p:nvPr/>
        </p:nvCxnSpPr>
        <p:spPr>
          <a:xfrm>
            <a:off x="3851920" y="2322000"/>
            <a:ext cx="0" cy="432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09904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F08DFC4E-729C-54A5-56E4-8145AEF44B08}"/>
              </a:ext>
            </a:extLst>
          </p:cNvPr>
          <p:cNvSpPr txBox="1"/>
          <p:nvPr/>
        </p:nvSpPr>
        <p:spPr>
          <a:xfrm>
            <a:off x="4471987" y="3484803"/>
            <a:ext cx="4672013" cy="15465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2"/>
            <a:r>
              <a:rPr lang="fr-FR" sz="1050" b="1" dirty="0"/>
              <a:t>Multi-</a:t>
            </a:r>
            <a:r>
              <a:rPr lang="fr-FR" sz="1050" b="1" dirty="0" err="1"/>
              <a:t>entity</a:t>
            </a:r>
            <a:r>
              <a:rPr lang="fr-FR" sz="1050" b="1" dirty="0"/>
              <a:t> </a:t>
            </a:r>
            <a:r>
              <a:rPr lang="fr-FR" sz="1050" b="1" dirty="0" err="1"/>
              <a:t>representatives</a:t>
            </a:r>
            <a:r>
              <a:rPr lang="fr-FR" sz="1050" b="1" dirty="0"/>
              <a:t> </a:t>
            </a:r>
            <a:r>
              <a:rPr lang="fr-FR" sz="1050" b="1" dirty="0" err="1"/>
              <a:t>appointed</a:t>
            </a:r>
            <a:r>
              <a:rPr lang="fr-FR" sz="1050" b="1" dirty="0"/>
              <a:t> by the business IT </a:t>
            </a:r>
            <a:r>
              <a:rPr lang="fr-FR" sz="1050" b="1" dirty="0" err="1"/>
              <a:t>departments</a:t>
            </a:r>
            <a:r>
              <a:rPr lang="fr-FR" sz="1050" b="1" dirty="0"/>
              <a:t> &amp; BPCE IT</a:t>
            </a:r>
          </a:p>
          <a:p>
            <a:pPr marL="0" lvl="2"/>
            <a:r>
              <a:rPr lang="fr-FR" sz="1050" b="1" dirty="0"/>
              <a:t>IT Payments</a:t>
            </a:r>
          </a:p>
          <a:p>
            <a:pPr marL="0" lvl="2"/>
            <a:r>
              <a:rPr lang="fr-FR" sz="1050" b="1" dirty="0"/>
              <a:t>BPCE-SI</a:t>
            </a:r>
          </a:p>
          <a:p>
            <a:pPr marL="0" lvl="2"/>
            <a:r>
              <a:rPr lang="fr-FR" sz="1050" b="1" dirty="0"/>
              <a:t>IT-CIB</a:t>
            </a:r>
          </a:p>
          <a:p>
            <a:pPr marL="0" lvl="2"/>
            <a:r>
              <a:rPr lang="fr-FR" sz="1050" b="1" dirty="0"/>
              <a:t>IT-AWM</a:t>
            </a:r>
          </a:p>
          <a:p>
            <a:pPr marL="0" lvl="2"/>
            <a:r>
              <a:rPr lang="fr-FR" sz="1050" b="1" dirty="0" err="1"/>
              <a:t>Corporate</a:t>
            </a:r>
            <a:r>
              <a:rPr lang="fr-FR" sz="1050" b="1" dirty="0"/>
              <a:t> IT </a:t>
            </a:r>
            <a:r>
              <a:rPr lang="fr-FR" sz="1050" b="1" dirty="0" err="1"/>
              <a:t>Department</a:t>
            </a:r>
            <a:endParaRPr lang="fr-FR" sz="1050" b="1" dirty="0"/>
          </a:p>
          <a:p>
            <a:pPr marL="0" lvl="2"/>
            <a:r>
              <a:rPr lang="fr-FR" sz="1050" b="1" dirty="0"/>
              <a:t>BPCE-IT</a:t>
            </a:r>
          </a:p>
          <a:p>
            <a:pPr marL="86995" lvl="3" indent="-86995">
              <a:buFont typeface="Arial" panose="020B0604020202020204" pitchFamily="34" charset="0"/>
              <a:buChar char="•"/>
            </a:pPr>
            <a:endParaRPr lang="fr-FR" sz="1050" dirty="0">
              <a:cs typeface="Arial"/>
            </a:endParaRPr>
          </a:p>
        </p:txBody>
      </p:sp>
      <p:sp>
        <p:nvSpPr>
          <p:cNvPr id="5" name="TextBox 393">
            <a:extLst>
              <a:ext uri="{FF2B5EF4-FFF2-40B4-BE49-F238E27FC236}">
                <a16:creationId xmlns:a16="http://schemas.microsoft.com/office/drawing/2014/main" id="{AABC9024-5AD8-ABB9-13E0-00D1A0CA4C28}"/>
              </a:ext>
            </a:extLst>
          </p:cNvPr>
          <p:cNvSpPr txBox="1"/>
          <p:nvPr/>
        </p:nvSpPr>
        <p:spPr>
          <a:xfrm>
            <a:off x="1443268" y="3247648"/>
            <a:ext cx="2908905" cy="193899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2"/>
            <a:r>
              <a:rPr lang="fr-FR" sz="1050" b="1" dirty="0"/>
              <a:t>Facilitation: TE&amp;S &amp; CIO Office</a:t>
            </a:r>
          </a:p>
          <a:p>
            <a:pPr lvl="2"/>
            <a:endParaRPr lang="fr-FR" sz="1050" b="1" dirty="0"/>
          </a:p>
          <a:p>
            <a:pPr lvl="2"/>
            <a:r>
              <a:rPr lang="fr-FR" sz="1050" b="1" dirty="0" err="1"/>
              <a:t>Procurement</a:t>
            </a:r>
            <a:r>
              <a:rPr lang="fr-FR" sz="1050" b="1" dirty="0"/>
              <a:t>, Services &amp; Legal stakeholders:</a:t>
            </a:r>
          </a:p>
          <a:p>
            <a:pPr lvl="2"/>
            <a:r>
              <a:rPr lang="fr-FR" sz="1050" b="1" dirty="0" err="1"/>
              <a:t>Procurement</a:t>
            </a:r>
            <a:r>
              <a:rPr lang="fr-FR" sz="1050" b="1" dirty="0"/>
              <a:t> &amp; Services</a:t>
            </a:r>
          </a:p>
          <a:p>
            <a:pPr lvl="2"/>
            <a:r>
              <a:rPr lang="fr-FR" sz="1050" b="1" dirty="0"/>
              <a:t>Legal</a:t>
            </a:r>
          </a:p>
          <a:p>
            <a:pPr lvl="2"/>
            <a:endParaRPr lang="fr-FR" sz="1050" b="1" dirty="0"/>
          </a:p>
          <a:p>
            <a:pPr lvl="2"/>
            <a:r>
              <a:rPr lang="fr-FR" sz="1050" b="1" dirty="0"/>
              <a:t>Security stakeholders:</a:t>
            </a:r>
          </a:p>
          <a:p>
            <a:pPr lvl="2"/>
            <a:r>
              <a:rPr lang="fr-FR" sz="1050" b="1" dirty="0"/>
              <a:t>Group Security</a:t>
            </a:r>
          </a:p>
          <a:p>
            <a:pPr lvl="2"/>
            <a:r>
              <a:rPr lang="fr-FR" sz="1050" b="1" dirty="0"/>
              <a:t>BPCE-IT Security</a:t>
            </a:r>
          </a:p>
          <a:p>
            <a:pPr lvl="2"/>
            <a:endParaRPr lang="fr-FR" sz="1050" b="1" dirty="0"/>
          </a:p>
          <a:p>
            <a:pPr marL="685800" lvl="2"/>
            <a:endParaRPr lang="fr-FR" sz="1050" dirty="0"/>
          </a:p>
        </p:txBody>
      </p:sp>
      <p:sp>
        <p:nvSpPr>
          <p:cNvPr id="349" name="Rectangle: Top Corners Rounded 348">
            <a:extLst>
              <a:ext uri="{FF2B5EF4-FFF2-40B4-BE49-F238E27FC236}">
                <a16:creationId xmlns:a16="http://schemas.microsoft.com/office/drawing/2014/main" id="{9018E76F-6018-47DD-BD48-98EAB61E86AD}"/>
              </a:ext>
            </a:extLst>
          </p:cNvPr>
          <p:cNvSpPr/>
          <p:nvPr/>
        </p:nvSpPr>
        <p:spPr>
          <a:xfrm>
            <a:off x="0" y="1"/>
            <a:ext cx="9144000" cy="2823824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267C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sz="105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66" name="Graphique 482">
            <a:extLst>
              <a:ext uri="{FF2B5EF4-FFF2-40B4-BE49-F238E27FC236}">
                <a16:creationId xmlns:a16="http://schemas.microsoft.com/office/drawing/2014/main" id="{AE9C11BB-BAFC-924D-466B-39BCA01B0D49}"/>
              </a:ext>
            </a:extLst>
          </p:cNvPr>
          <p:cNvGrpSpPr/>
          <p:nvPr/>
        </p:nvGrpSpPr>
        <p:grpSpPr>
          <a:xfrm>
            <a:off x="904405" y="990960"/>
            <a:ext cx="424544" cy="1359772"/>
            <a:chOff x="-1853077" y="2513982"/>
            <a:chExt cx="375693" cy="1203404"/>
          </a:xfrm>
        </p:grpSpPr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DDBE227E-C978-A8D4-38D5-E2F982DEF02C}"/>
                </a:ext>
              </a:extLst>
            </p:cNvPr>
            <p:cNvSpPr/>
            <p:nvPr/>
          </p:nvSpPr>
          <p:spPr>
            <a:xfrm>
              <a:off x="-1823625" y="2532479"/>
              <a:ext cx="1795" cy="1184907"/>
            </a:xfrm>
            <a:custGeom>
              <a:avLst/>
              <a:gdLst>
                <a:gd name="connsiteX0" fmla="*/ 0 w 1795"/>
                <a:gd name="connsiteY0" fmla="*/ 1184908 h 1184907"/>
                <a:gd name="connsiteX1" fmla="*/ 0 w 1795"/>
                <a:gd name="connsiteY1" fmla="*/ 0 h 118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" h="1184907">
                  <a:moveTo>
                    <a:pt x="0" y="1184908"/>
                  </a:moveTo>
                  <a:lnTo>
                    <a:pt x="0" y="0"/>
                  </a:lnTo>
                </a:path>
              </a:pathLst>
            </a:custGeom>
            <a:ln w="5770" cap="flat">
              <a:solidFill>
                <a:srgbClr val="464B5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58CBEFF2-0C39-5748-D291-A2B619182660}"/>
                </a:ext>
              </a:extLst>
            </p:cNvPr>
            <p:cNvSpPr/>
            <p:nvPr/>
          </p:nvSpPr>
          <p:spPr>
            <a:xfrm>
              <a:off x="-1839069" y="2513982"/>
              <a:ext cx="29092" cy="29092"/>
            </a:xfrm>
            <a:custGeom>
              <a:avLst/>
              <a:gdLst>
                <a:gd name="connsiteX0" fmla="*/ 0 w 29092"/>
                <a:gd name="connsiteY0" fmla="*/ 14546 h 29092"/>
                <a:gd name="connsiteX1" fmla="*/ 14546 w 29092"/>
                <a:gd name="connsiteY1" fmla="*/ 0 h 29092"/>
                <a:gd name="connsiteX2" fmla="*/ 29093 w 29092"/>
                <a:gd name="connsiteY2" fmla="*/ 14546 h 29092"/>
                <a:gd name="connsiteX3" fmla="*/ 14546 w 29092"/>
                <a:gd name="connsiteY3" fmla="*/ 29093 h 29092"/>
                <a:gd name="connsiteX4" fmla="*/ 0 w 29092"/>
                <a:gd name="connsiteY4" fmla="*/ 14546 h 2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2" h="29092">
                  <a:moveTo>
                    <a:pt x="0" y="14546"/>
                  </a:moveTo>
                  <a:cubicBezTo>
                    <a:pt x="0" y="6465"/>
                    <a:pt x="6465" y="0"/>
                    <a:pt x="14546" y="0"/>
                  </a:cubicBezTo>
                  <a:cubicBezTo>
                    <a:pt x="22628" y="0"/>
                    <a:pt x="29093" y="6465"/>
                    <a:pt x="29093" y="14546"/>
                  </a:cubicBezTo>
                  <a:cubicBezTo>
                    <a:pt x="29093" y="22628"/>
                    <a:pt x="22628" y="29093"/>
                    <a:pt x="14546" y="29093"/>
                  </a:cubicBezTo>
                  <a:cubicBezTo>
                    <a:pt x="6465" y="29093"/>
                    <a:pt x="0" y="22628"/>
                    <a:pt x="0" y="14546"/>
                  </a:cubicBezTo>
                  <a:close/>
                </a:path>
              </a:pathLst>
            </a:custGeom>
            <a:solidFill>
              <a:srgbClr val="464B5F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3E54346E-03BD-9D56-FC71-8E6E9032AA0B}"/>
                </a:ext>
              </a:extLst>
            </p:cNvPr>
            <p:cNvSpPr/>
            <p:nvPr/>
          </p:nvSpPr>
          <p:spPr>
            <a:xfrm>
              <a:off x="-1853077" y="2568282"/>
              <a:ext cx="375693" cy="127440"/>
            </a:xfrm>
            <a:custGeom>
              <a:avLst/>
              <a:gdLst>
                <a:gd name="connsiteX0" fmla="*/ 375694 w 375693"/>
                <a:gd name="connsiteY0" fmla="*/ 39264 h 127440"/>
                <a:gd name="connsiteX1" fmla="*/ 231845 w 375693"/>
                <a:gd name="connsiteY1" fmla="*/ 32081 h 127440"/>
                <a:gd name="connsiteX2" fmla="*/ 0 w 375693"/>
                <a:gd name="connsiteY2" fmla="*/ 18971 h 127440"/>
                <a:gd name="connsiteX3" fmla="*/ 0 w 375693"/>
                <a:gd name="connsiteY3" fmla="*/ 108225 h 127440"/>
                <a:gd name="connsiteX4" fmla="*/ 202753 w 375693"/>
                <a:gd name="connsiteY4" fmla="*/ 100503 h 127440"/>
                <a:gd name="connsiteX5" fmla="*/ 320202 w 375693"/>
                <a:gd name="connsiteY5" fmla="*/ 127441 h 127440"/>
                <a:gd name="connsiteX6" fmla="*/ 375694 w 375693"/>
                <a:gd name="connsiteY6" fmla="*/ 119539 h 127440"/>
                <a:gd name="connsiteX7" fmla="*/ 336185 w 375693"/>
                <a:gd name="connsiteY7" fmla="*/ 86675 h 127440"/>
                <a:gd name="connsiteX8" fmla="*/ 375694 w 375693"/>
                <a:gd name="connsiteY8" fmla="*/ 39264 h 12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5693" h="127440">
                  <a:moveTo>
                    <a:pt x="375694" y="39264"/>
                  </a:moveTo>
                  <a:cubicBezTo>
                    <a:pt x="339956" y="59917"/>
                    <a:pt x="291468" y="57402"/>
                    <a:pt x="231845" y="32081"/>
                  </a:cubicBezTo>
                  <a:cubicBezTo>
                    <a:pt x="122298" y="-14432"/>
                    <a:pt x="46872" y="-2579"/>
                    <a:pt x="0" y="18971"/>
                  </a:cubicBezTo>
                  <a:lnTo>
                    <a:pt x="0" y="108225"/>
                  </a:lnTo>
                  <a:cubicBezTo>
                    <a:pt x="8081" y="99066"/>
                    <a:pt x="65190" y="42138"/>
                    <a:pt x="202753" y="100503"/>
                  </a:cubicBezTo>
                  <a:cubicBezTo>
                    <a:pt x="244955" y="118462"/>
                    <a:pt x="284105" y="127441"/>
                    <a:pt x="320202" y="127441"/>
                  </a:cubicBezTo>
                  <a:cubicBezTo>
                    <a:pt x="339597" y="127441"/>
                    <a:pt x="358094" y="124747"/>
                    <a:pt x="375694" y="119539"/>
                  </a:cubicBezTo>
                  <a:lnTo>
                    <a:pt x="336185" y="86675"/>
                  </a:lnTo>
                  <a:lnTo>
                    <a:pt x="375694" y="39264"/>
                  </a:lnTo>
                  <a:close/>
                </a:path>
              </a:pathLst>
            </a:custGeom>
            <a:solidFill>
              <a:srgbClr val="CF75AD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</p:grpSp>
      <p:grpSp>
        <p:nvGrpSpPr>
          <p:cNvPr id="290" name="Graphique 482">
            <a:extLst>
              <a:ext uri="{FF2B5EF4-FFF2-40B4-BE49-F238E27FC236}">
                <a16:creationId xmlns:a16="http://schemas.microsoft.com/office/drawing/2014/main" id="{C486F98E-E02D-DAEB-2687-BD53AB31FA47}"/>
              </a:ext>
            </a:extLst>
          </p:cNvPr>
          <p:cNvGrpSpPr/>
          <p:nvPr/>
        </p:nvGrpSpPr>
        <p:grpSpPr>
          <a:xfrm>
            <a:off x="123672" y="1219612"/>
            <a:ext cx="1792198" cy="1792198"/>
            <a:chOff x="-2458282" y="2935829"/>
            <a:chExt cx="1586102" cy="1586102"/>
          </a:xfrm>
        </p:grpSpPr>
        <p:sp>
          <p:nvSpPr>
            <p:cNvPr id="336" name="Forme libre : forme 335">
              <a:extLst>
                <a:ext uri="{FF2B5EF4-FFF2-40B4-BE49-F238E27FC236}">
                  <a16:creationId xmlns:a16="http://schemas.microsoft.com/office/drawing/2014/main" id="{064200B8-E904-C923-6F48-C0166BFE7938}"/>
                </a:ext>
              </a:extLst>
            </p:cNvPr>
            <p:cNvSpPr/>
            <p:nvPr/>
          </p:nvSpPr>
          <p:spPr>
            <a:xfrm>
              <a:off x="-2458282" y="2935829"/>
              <a:ext cx="1586102" cy="1586102"/>
            </a:xfrm>
            <a:custGeom>
              <a:avLst/>
              <a:gdLst>
                <a:gd name="connsiteX0" fmla="*/ 1586103 w 1586102"/>
                <a:gd name="connsiteY0" fmla="*/ 793051 h 1586102"/>
                <a:gd name="connsiteX1" fmla="*/ 793051 w 1586102"/>
                <a:gd name="connsiteY1" fmla="*/ 1586103 h 1586102"/>
                <a:gd name="connsiteX2" fmla="*/ 0 w 1586102"/>
                <a:gd name="connsiteY2" fmla="*/ 793051 h 1586102"/>
                <a:gd name="connsiteX3" fmla="*/ 793051 w 1586102"/>
                <a:gd name="connsiteY3" fmla="*/ 0 h 1586102"/>
                <a:gd name="connsiteX4" fmla="*/ 1586103 w 1586102"/>
                <a:gd name="connsiteY4" fmla="*/ 793051 h 158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102" h="1586102">
                  <a:moveTo>
                    <a:pt x="1586103" y="793051"/>
                  </a:moveTo>
                  <a:cubicBezTo>
                    <a:pt x="1586103" y="1231042"/>
                    <a:pt x="1231042" y="1586103"/>
                    <a:pt x="793051" y="1586103"/>
                  </a:cubicBezTo>
                  <a:cubicBezTo>
                    <a:pt x="355061" y="1586103"/>
                    <a:pt x="0" y="1231042"/>
                    <a:pt x="0" y="793051"/>
                  </a:cubicBezTo>
                  <a:cubicBezTo>
                    <a:pt x="0" y="355061"/>
                    <a:pt x="355061" y="0"/>
                    <a:pt x="793051" y="0"/>
                  </a:cubicBezTo>
                  <a:cubicBezTo>
                    <a:pt x="1231042" y="0"/>
                    <a:pt x="1586103" y="355061"/>
                    <a:pt x="1586103" y="793051"/>
                  </a:cubicBezTo>
                  <a:close/>
                </a:path>
              </a:pathLst>
            </a:custGeom>
            <a:solidFill>
              <a:srgbClr val="57267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38" name="Forme libre : forme 337">
              <a:extLst>
                <a:ext uri="{FF2B5EF4-FFF2-40B4-BE49-F238E27FC236}">
                  <a16:creationId xmlns:a16="http://schemas.microsoft.com/office/drawing/2014/main" id="{A38599DB-1593-521A-A452-B1A7D3BF3331}"/>
                </a:ext>
              </a:extLst>
            </p:cNvPr>
            <p:cNvSpPr/>
            <p:nvPr/>
          </p:nvSpPr>
          <p:spPr>
            <a:xfrm>
              <a:off x="-2318743" y="3075187"/>
              <a:ext cx="1307385" cy="1307385"/>
            </a:xfrm>
            <a:custGeom>
              <a:avLst/>
              <a:gdLst>
                <a:gd name="connsiteX0" fmla="*/ 653513 w 1307385"/>
                <a:gd name="connsiteY0" fmla="*/ 1307386 h 1307385"/>
                <a:gd name="connsiteX1" fmla="*/ 191259 w 1307385"/>
                <a:gd name="connsiteY1" fmla="*/ 1115947 h 1307385"/>
                <a:gd name="connsiteX2" fmla="*/ 0 w 1307385"/>
                <a:gd name="connsiteY2" fmla="*/ 653693 h 1307385"/>
                <a:gd name="connsiteX3" fmla="*/ 191439 w 1307385"/>
                <a:gd name="connsiteY3" fmla="*/ 191439 h 1307385"/>
                <a:gd name="connsiteX4" fmla="*/ 653693 w 1307385"/>
                <a:gd name="connsiteY4" fmla="*/ 0 h 1307385"/>
                <a:gd name="connsiteX5" fmla="*/ 1115947 w 1307385"/>
                <a:gd name="connsiteY5" fmla="*/ 191439 h 1307385"/>
                <a:gd name="connsiteX6" fmla="*/ 1307386 w 1307385"/>
                <a:gd name="connsiteY6" fmla="*/ 653693 h 1307385"/>
                <a:gd name="connsiteX7" fmla="*/ 1115767 w 1307385"/>
                <a:gd name="connsiteY7" fmla="*/ 1115947 h 1307385"/>
                <a:gd name="connsiteX8" fmla="*/ 653513 w 1307385"/>
                <a:gd name="connsiteY8" fmla="*/ 1307386 h 130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7385" h="1307385">
                  <a:moveTo>
                    <a:pt x="653513" y="1307386"/>
                  </a:moveTo>
                  <a:cubicBezTo>
                    <a:pt x="478956" y="1307386"/>
                    <a:pt x="314814" y="1239322"/>
                    <a:pt x="191259" y="1115947"/>
                  </a:cubicBezTo>
                  <a:cubicBezTo>
                    <a:pt x="67704" y="992571"/>
                    <a:pt x="0" y="828430"/>
                    <a:pt x="0" y="653693"/>
                  </a:cubicBezTo>
                  <a:cubicBezTo>
                    <a:pt x="0" y="478956"/>
                    <a:pt x="68063" y="314994"/>
                    <a:pt x="191439" y="191439"/>
                  </a:cubicBezTo>
                  <a:cubicBezTo>
                    <a:pt x="314814" y="68063"/>
                    <a:pt x="478956" y="0"/>
                    <a:pt x="653693" y="0"/>
                  </a:cubicBezTo>
                  <a:cubicBezTo>
                    <a:pt x="828250" y="0"/>
                    <a:pt x="992392" y="68063"/>
                    <a:pt x="1115947" y="191439"/>
                  </a:cubicBezTo>
                  <a:cubicBezTo>
                    <a:pt x="1239323" y="314814"/>
                    <a:pt x="1307386" y="478956"/>
                    <a:pt x="1307386" y="653693"/>
                  </a:cubicBezTo>
                  <a:cubicBezTo>
                    <a:pt x="1307386" y="828430"/>
                    <a:pt x="1239143" y="992571"/>
                    <a:pt x="1115767" y="1115947"/>
                  </a:cubicBezTo>
                  <a:cubicBezTo>
                    <a:pt x="992392" y="1239322"/>
                    <a:pt x="828250" y="1307386"/>
                    <a:pt x="653513" y="1307386"/>
                  </a:cubicBezTo>
                  <a:close/>
                </a:path>
              </a:pathLst>
            </a:custGeom>
            <a:solidFill>
              <a:srgbClr val="FFFFFF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39" name="Forme libre : forme 338">
              <a:extLst>
                <a:ext uri="{FF2B5EF4-FFF2-40B4-BE49-F238E27FC236}">
                  <a16:creationId xmlns:a16="http://schemas.microsoft.com/office/drawing/2014/main" id="{5E5D0D01-6043-DC27-D6C9-03CF9F330A85}"/>
                </a:ext>
              </a:extLst>
            </p:cNvPr>
            <p:cNvSpPr/>
            <p:nvPr/>
          </p:nvSpPr>
          <p:spPr>
            <a:xfrm>
              <a:off x="-2179564" y="3214546"/>
              <a:ext cx="1028668" cy="1028668"/>
            </a:xfrm>
            <a:custGeom>
              <a:avLst/>
              <a:gdLst>
                <a:gd name="connsiteX0" fmla="*/ 514334 w 1028668"/>
                <a:gd name="connsiteY0" fmla="*/ 1028668 h 1028668"/>
                <a:gd name="connsiteX1" fmla="*/ 150673 w 1028668"/>
                <a:gd name="connsiteY1" fmla="*/ 877996 h 1028668"/>
                <a:gd name="connsiteX2" fmla="*/ 0 w 1028668"/>
                <a:gd name="connsiteY2" fmla="*/ 514334 h 1028668"/>
                <a:gd name="connsiteX3" fmla="*/ 150673 w 1028668"/>
                <a:gd name="connsiteY3" fmla="*/ 150673 h 1028668"/>
                <a:gd name="connsiteX4" fmla="*/ 514334 w 1028668"/>
                <a:gd name="connsiteY4" fmla="*/ 0 h 1028668"/>
                <a:gd name="connsiteX5" fmla="*/ 877996 w 1028668"/>
                <a:gd name="connsiteY5" fmla="*/ 150673 h 1028668"/>
                <a:gd name="connsiteX6" fmla="*/ 1028668 w 1028668"/>
                <a:gd name="connsiteY6" fmla="*/ 514334 h 1028668"/>
                <a:gd name="connsiteX7" fmla="*/ 877996 w 1028668"/>
                <a:gd name="connsiteY7" fmla="*/ 877996 h 1028668"/>
                <a:gd name="connsiteX8" fmla="*/ 514334 w 1028668"/>
                <a:gd name="connsiteY8" fmla="*/ 1028668 h 102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8668" h="1028668">
                  <a:moveTo>
                    <a:pt x="514334" y="1028668"/>
                  </a:moveTo>
                  <a:cubicBezTo>
                    <a:pt x="376951" y="1028668"/>
                    <a:pt x="247829" y="975152"/>
                    <a:pt x="150673" y="877996"/>
                  </a:cubicBezTo>
                  <a:cubicBezTo>
                    <a:pt x="53517" y="780840"/>
                    <a:pt x="0" y="651717"/>
                    <a:pt x="0" y="514334"/>
                  </a:cubicBezTo>
                  <a:cubicBezTo>
                    <a:pt x="0" y="376951"/>
                    <a:pt x="53517" y="247829"/>
                    <a:pt x="150673" y="150673"/>
                  </a:cubicBezTo>
                  <a:cubicBezTo>
                    <a:pt x="247829" y="53517"/>
                    <a:pt x="376951" y="0"/>
                    <a:pt x="514334" y="0"/>
                  </a:cubicBezTo>
                  <a:cubicBezTo>
                    <a:pt x="651717" y="0"/>
                    <a:pt x="780840" y="53517"/>
                    <a:pt x="877996" y="150673"/>
                  </a:cubicBezTo>
                  <a:cubicBezTo>
                    <a:pt x="975152" y="247829"/>
                    <a:pt x="1028668" y="376951"/>
                    <a:pt x="1028668" y="514334"/>
                  </a:cubicBezTo>
                  <a:cubicBezTo>
                    <a:pt x="1028668" y="651717"/>
                    <a:pt x="975152" y="780840"/>
                    <a:pt x="877996" y="877996"/>
                  </a:cubicBezTo>
                  <a:cubicBezTo>
                    <a:pt x="780840" y="975152"/>
                    <a:pt x="651717" y="1028668"/>
                    <a:pt x="514334" y="1028668"/>
                  </a:cubicBezTo>
                  <a:close/>
                </a:path>
              </a:pathLst>
            </a:custGeom>
            <a:solidFill>
              <a:srgbClr val="57267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40" name="Forme libre : forme 339">
              <a:extLst>
                <a:ext uri="{FF2B5EF4-FFF2-40B4-BE49-F238E27FC236}">
                  <a16:creationId xmlns:a16="http://schemas.microsoft.com/office/drawing/2014/main" id="{23D15BB3-E739-EB3D-5038-C7B87963E4F3}"/>
                </a:ext>
              </a:extLst>
            </p:cNvPr>
            <p:cNvSpPr/>
            <p:nvPr/>
          </p:nvSpPr>
          <p:spPr>
            <a:xfrm>
              <a:off x="-2040026" y="3354084"/>
              <a:ext cx="749591" cy="749591"/>
            </a:xfrm>
            <a:custGeom>
              <a:avLst/>
              <a:gdLst>
                <a:gd name="connsiteX0" fmla="*/ 374796 w 749591"/>
                <a:gd name="connsiteY0" fmla="*/ 749592 h 749591"/>
                <a:gd name="connsiteX1" fmla="*/ 109727 w 749591"/>
                <a:gd name="connsiteY1" fmla="*/ 639865 h 749591"/>
                <a:gd name="connsiteX2" fmla="*/ 0 w 749591"/>
                <a:gd name="connsiteY2" fmla="*/ 374796 h 749591"/>
                <a:gd name="connsiteX3" fmla="*/ 109727 w 749591"/>
                <a:gd name="connsiteY3" fmla="*/ 109727 h 749591"/>
                <a:gd name="connsiteX4" fmla="*/ 374796 w 749591"/>
                <a:gd name="connsiteY4" fmla="*/ 0 h 749591"/>
                <a:gd name="connsiteX5" fmla="*/ 639865 w 749591"/>
                <a:gd name="connsiteY5" fmla="*/ 109727 h 749591"/>
                <a:gd name="connsiteX6" fmla="*/ 749592 w 749591"/>
                <a:gd name="connsiteY6" fmla="*/ 374796 h 749591"/>
                <a:gd name="connsiteX7" fmla="*/ 639865 w 749591"/>
                <a:gd name="connsiteY7" fmla="*/ 639865 h 749591"/>
                <a:gd name="connsiteX8" fmla="*/ 374796 w 749591"/>
                <a:gd name="connsiteY8" fmla="*/ 749592 h 74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9591" h="749591">
                  <a:moveTo>
                    <a:pt x="374796" y="749592"/>
                  </a:moveTo>
                  <a:cubicBezTo>
                    <a:pt x="274766" y="749592"/>
                    <a:pt x="180663" y="710622"/>
                    <a:pt x="109727" y="639865"/>
                  </a:cubicBezTo>
                  <a:cubicBezTo>
                    <a:pt x="38970" y="569108"/>
                    <a:pt x="0" y="475005"/>
                    <a:pt x="0" y="374796"/>
                  </a:cubicBezTo>
                  <a:cubicBezTo>
                    <a:pt x="0" y="274587"/>
                    <a:pt x="38970" y="180664"/>
                    <a:pt x="109727" y="109727"/>
                  </a:cubicBezTo>
                  <a:cubicBezTo>
                    <a:pt x="180484" y="38970"/>
                    <a:pt x="274587" y="0"/>
                    <a:pt x="374796" y="0"/>
                  </a:cubicBezTo>
                  <a:cubicBezTo>
                    <a:pt x="474825" y="0"/>
                    <a:pt x="568928" y="38970"/>
                    <a:pt x="639865" y="109727"/>
                  </a:cubicBezTo>
                  <a:cubicBezTo>
                    <a:pt x="710621" y="180484"/>
                    <a:pt x="749592" y="274587"/>
                    <a:pt x="749592" y="374796"/>
                  </a:cubicBezTo>
                  <a:cubicBezTo>
                    <a:pt x="749592" y="475005"/>
                    <a:pt x="710621" y="568928"/>
                    <a:pt x="639865" y="639865"/>
                  </a:cubicBezTo>
                  <a:cubicBezTo>
                    <a:pt x="569108" y="710622"/>
                    <a:pt x="475005" y="749592"/>
                    <a:pt x="374796" y="749592"/>
                  </a:cubicBezTo>
                  <a:close/>
                </a:path>
              </a:pathLst>
            </a:custGeom>
            <a:solidFill>
              <a:srgbClr val="FFFFFF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41" name="Forme libre : forme 340">
              <a:extLst>
                <a:ext uri="{FF2B5EF4-FFF2-40B4-BE49-F238E27FC236}">
                  <a16:creationId xmlns:a16="http://schemas.microsoft.com/office/drawing/2014/main" id="{B9676F9A-132E-2765-6217-8092B7094BF4}"/>
                </a:ext>
              </a:extLst>
            </p:cNvPr>
            <p:cNvSpPr/>
            <p:nvPr/>
          </p:nvSpPr>
          <p:spPr>
            <a:xfrm>
              <a:off x="-1900488" y="3493802"/>
              <a:ext cx="470515" cy="470515"/>
            </a:xfrm>
            <a:custGeom>
              <a:avLst/>
              <a:gdLst>
                <a:gd name="connsiteX0" fmla="*/ 235258 w 470515"/>
                <a:gd name="connsiteY0" fmla="*/ 470515 h 470515"/>
                <a:gd name="connsiteX1" fmla="*/ 68961 w 470515"/>
                <a:gd name="connsiteY1" fmla="*/ 401554 h 470515"/>
                <a:gd name="connsiteX2" fmla="*/ 0 w 470515"/>
                <a:gd name="connsiteY2" fmla="*/ 235258 h 470515"/>
                <a:gd name="connsiteX3" fmla="*/ 68961 w 470515"/>
                <a:gd name="connsiteY3" fmla="*/ 68961 h 470515"/>
                <a:gd name="connsiteX4" fmla="*/ 235258 w 470515"/>
                <a:gd name="connsiteY4" fmla="*/ 0 h 470515"/>
                <a:gd name="connsiteX5" fmla="*/ 401554 w 470515"/>
                <a:gd name="connsiteY5" fmla="*/ 68961 h 470515"/>
                <a:gd name="connsiteX6" fmla="*/ 470515 w 470515"/>
                <a:gd name="connsiteY6" fmla="*/ 235258 h 470515"/>
                <a:gd name="connsiteX7" fmla="*/ 401554 w 470515"/>
                <a:gd name="connsiteY7" fmla="*/ 401554 h 470515"/>
                <a:gd name="connsiteX8" fmla="*/ 235258 w 470515"/>
                <a:gd name="connsiteY8" fmla="*/ 470515 h 47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515" h="470515">
                  <a:moveTo>
                    <a:pt x="235258" y="470515"/>
                  </a:moveTo>
                  <a:cubicBezTo>
                    <a:pt x="172402" y="470515"/>
                    <a:pt x="113319" y="446091"/>
                    <a:pt x="68961" y="401554"/>
                  </a:cubicBezTo>
                  <a:cubicBezTo>
                    <a:pt x="24603" y="357196"/>
                    <a:pt x="0" y="298113"/>
                    <a:pt x="0" y="235258"/>
                  </a:cubicBezTo>
                  <a:cubicBezTo>
                    <a:pt x="0" y="172402"/>
                    <a:pt x="24424" y="113319"/>
                    <a:pt x="68961" y="68961"/>
                  </a:cubicBezTo>
                  <a:cubicBezTo>
                    <a:pt x="113319" y="24603"/>
                    <a:pt x="172402" y="0"/>
                    <a:pt x="235258" y="0"/>
                  </a:cubicBezTo>
                  <a:cubicBezTo>
                    <a:pt x="298113" y="0"/>
                    <a:pt x="357196" y="24424"/>
                    <a:pt x="401554" y="68961"/>
                  </a:cubicBezTo>
                  <a:cubicBezTo>
                    <a:pt x="445912" y="113319"/>
                    <a:pt x="470515" y="172402"/>
                    <a:pt x="470515" y="235258"/>
                  </a:cubicBezTo>
                  <a:cubicBezTo>
                    <a:pt x="470515" y="298113"/>
                    <a:pt x="446091" y="357196"/>
                    <a:pt x="401554" y="401554"/>
                  </a:cubicBezTo>
                  <a:cubicBezTo>
                    <a:pt x="357196" y="445912"/>
                    <a:pt x="298113" y="470515"/>
                    <a:pt x="235258" y="470515"/>
                  </a:cubicBezTo>
                  <a:close/>
                </a:path>
              </a:pathLst>
            </a:custGeom>
            <a:solidFill>
              <a:srgbClr val="57267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42" name="Forme libre : forme 341">
              <a:extLst>
                <a:ext uri="{FF2B5EF4-FFF2-40B4-BE49-F238E27FC236}">
                  <a16:creationId xmlns:a16="http://schemas.microsoft.com/office/drawing/2014/main" id="{0F60E08B-0464-8B7D-30DA-8E003425D732}"/>
                </a:ext>
              </a:extLst>
            </p:cNvPr>
            <p:cNvSpPr/>
            <p:nvPr/>
          </p:nvSpPr>
          <p:spPr>
            <a:xfrm>
              <a:off x="-1748019" y="3646271"/>
              <a:ext cx="165578" cy="165578"/>
            </a:xfrm>
            <a:custGeom>
              <a:avLst/>
              <a:gdLst>
                <a:gd name="connsiteX0" fmla="*/ 82789 w 165578"/>
                <a:gd name="connsiteY0" fmla="*/ 165578 h 165578"/>
                <a:gd name="connsiteX1" fmla="*/ 24244 w 165578"/>
                <a:gd name="connsiteY1" fmla="*/ 141334 h 165578"/>
                <a:gd name="connsiteX2" fmla="*/ 0 w 165578"/>
                <a:gd name="connsiteY2" fmla="*/ 82789 h 165578"/>
                <a:gd name="connsiteX3" fmla="*/ 24244 w 165578"/>
                <a:gd name="connsiteY3" fmla="*/ 24244 h 165578"/>
                <a:gd name="connsiteX4" fmla="*/ 82789 w 165578"/>
                <a:gd name="connsiteY4" fmla="*/ 0 h 165578"/>
                <a:gd name="connsiteX5" fmla="*/ 141334 w 165578"/>
                <a:gd name="connsiteY5" fmla="*/ 24244 h 165578"/>
                <a:gd name="connsiteX6" fmla="*/ 165578 w 165578"/>
                <a:gd name="connsiteY6" fmla="*/ 82789 h 165578"/>
                <a:gd name="connsiteX7" fmla="*/ 141334 w 165578"/>
                <a:gd name="connsiteY7" fmla="*/ 141334 h 165578"/>
                <a:gd name="connsiteX8" fmla="*/ 82789 w 165578"/>
                <a:gd name="connsiteY8" fmla="*/ 165578 h 1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578" h="165578">
                  <a:moveTo>
                    <a:pt x="82789" y="165578"/>
                  </a:moveTo>
                  <a:cubicBezTo>
                    <a:pt x="60700" y="165578"/>
                    <a:pt x="39868" y="156958"/>
                    <a:pt x="24244" y="141334"/>
                  </a:cubicBezTo>
                  <a:cubicBezTo>
                    <a:pt x="8620" y="125710"/>
                    <a:pt x="0" y="104878"/>
                    <a:pt x="0" y="82789"/>
                  </a:cubicBezTo>
                  <a:cubicBezTo>
                    <a:pt x="0" y="60700"/>
                    <a:pt x="8620" y="39868"/>
                    <a:pt x="24244" y="24244"/>
                  </a:cubicBezTo>
                  <a:cubicBezTo>
                    <a:pt x="39868" y="8620"/>
                    <a:pt x="60700" y="0"/>
                    <a:pt x="82789" y="0"/>
                  </a:cubicBezTo>
                  <a:cubicBezTo>
                    <a:pt x="104878" y="0"/>
                    <a:pt x="125710" y="8620"/>
                    <a:pt x="141334" y="24244"/>
                  </a:cubicBezTo>
                  <a:cubicBezTo>
                    <a:pt x="156958" y="39868"/>
                    <a:pt x="165578" y="60700"/>
                    <a:pt x="165578" y="82789"/>
                  </a:cubicBezTo>
                  <a:cubicBezTo>
                    <a:pt x="165578" y="104878"/>
                    <a:pt x="156958" y="125710"/>
                    <a:pt x="141334" y="141334"/>
                  </a:cubicBezTo>
                  <a:cubicBezTo>
                    <a:pt x="125890" y="156958"/>
                    <a:pt x="105058" y="165578"/>
                    <a:pt x="82789" y="165578"/>
                  </a:cubicBez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</p:grpSp>
      <p:grpSp>
        <p:nvGrpSpPr>
          <p:cNvPr id="343" name="Graphique 482">
            <a:extLst>
              <a:ext uri="{FF2B5EF4-FFF2-40B4-BE49-F238E27FC236}">
                <a16:creationId xmlns:a16="http://schemas.microsoft.com/office/drawing/2014/main" id="{AD3B8339-E4F3-1B4B-A59A-B9FDAC99FF05}"/>
              </a:ext>
            </a:extLst>
          </p:cNvPr>
          <p:cNvGrpSpPr/>
          <p:nvPr/>
        </p:nvGrpSpPr>
        <p:grpSpPr>
          <a:xfrm>
            <a:off x="1016455" y="990027"/>
            <a:ext cx="1148837" cy="1149244"/>
            <a:chOff x="-1673222" y="2899552"/>
            <a:chExt cx="1016725" cy="1017085"/>
          </a:xfrm>
        </p:grpSpPr>
        <p:sp>
          <p:nvSpPr>
            <p:cNvPr id="344" name="Forme libre : forme 343">
              <a:extLst>
                <a:ext uri="{FF2B5EF4-FFF2-40B4-BE49-F238E27FC236}">
                  <a16:creationId xmlns:a16="http://schemas.microsoft.com/office/drawing/2014/main" id="{95777967-1CE3-71D5-EBBE-A0980EE81A68}"/>
                </a:ext>
              </a:extLst>
            </p:cNvPr>
            <p:cNvSpPr/>
            <p:nvPr/>
          </p:nvSpPr>
          <p:spPr>
            <a:xfrm>
              <a:off x="-1573551" y="2988358"/>
              <a:ext cx="828250" cy="828474"/>
            </a:xfrm>
            <a:custGeom>
              <a:avLst/>
              <a:gdLst>
                <a:gd name="connsiteX0" fmla="*/ 3502 w 828250"/>
                <a:gd name="connsiteY0" fmla="*/ 825107 h 828474"/>
                <a:gd name="connsiteX1" fmla="*/ 3502 w 828250"/>
                <a:gd name="connsiteY1" fmla="*/ 825107 h 828474"/>
                <a:gd name="connsiteX2" fmla="*/ 3502 w 828250"/>
                <a:gd name="connsiteY2" fmla="*/ 808406 h 828474"/>
                <a:gd name="connsiteX3" fmla="*/ 808047 w 828250"/>
                <a:gd name="connsiteY3" fmla="*/ 3502 h 828474"/>
                <a:gd name="connsiteX4" fmla="*/ 824748 w 828250"/>
                <a:gd name="connsiteY4" fmla="*/ 3502 h 828474"/>
                <a:gd name="connsiteX5" fmla="*/ 824748 w 828250"/>
                <a:gd name="connsiteY5" fmla="*/ 3502 h 828474"/>
                <a:gd name="connsiteX6" fmla="*/ 824748 w 828250"/>
                <a:gd name="connsiteY6" fmla="*/ 20203 h 828474"/>
                <a:gd name="connsiteX7" fmla="*/ 20203 w 828250"/>
                <a:gd name="connsiteY7" fmla="*/ 825107 h 828474"/>
                <a:gd name="connsiteX8" fmla="*/ 3502 w 828250"/>
                <a:gd name="connsiteY8" fmla="*/ 825107 h 82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8250" h="828474">
                  <a:moveTo>
                    <a:pt x="3502" y="825107"/>
                  </a:moveTo>
                  <a:lnTo>
                    <a:pt x="3502" y="825107"/>
                  </a:lnTo>
                  <a:cubicBezTo>
                    <a:pt x="-1167" y="820438"/>
                    <a:pt x="-1167" y="813075"/>
                    <a:pt x="3502" y="808406"/>
                  </a:cubicBezTo>
                  <a:lnTo>
                    <a:pt x="808047" y="3502"/>
                  </a:lnTo>
                  <a:cubicBezTo>
                    <a:pt x="812716" y="-1167"/>
                    <a:pt x="820079" y="-1167"/>
                    <a:pt x="824748" y="3502"/>
                  </a:cubicBezTo>
                  <a:lnTo>
                    <a:pt x="824748" y="3502"/>
                  </a:lnTo>
                  <a:cubicBezTo>
                    <a:pt x="829418" y="8171"/>
                    <a:pt x="829418" y="15534"/>
                    <a:pt x="824748" y="20203"/>
                  </a:cubicBezTo>
                  <a:lnTo>
                    <a:pt x="20203" y="825107"/>
                  </a:lnTo>
                  <a:cubicBezTo>
                    <a:pt x="15534" y="829597"/>
                    <a:pt x="8171" y="829597"/>
                    <a:pt x="3502" y="825107"/>
                  </a:cubicBezTo>
                  <a:close/>
                </a:path>
              </a:pathLst>
            </a:custGeom>
            <a:solidFill>
              <a:srgbClr val="696076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50" name="Forme libre : forme 349">
              <a:extLst>
                <a:ext uri="{FF2B5EF4-FFF2-40B4-BE49-F238E27FC236}">
                  <a16:creationId xmlns:a16="http://schemas.microsoft.com/office/drawing/2014/main" id="{11B4792B-D194-185A-E9A2-6557DC1F6D06}"/>
                </a:ext>
              </a:extLst>
            </p:cNvPr>
            <p:cNvSpPr/>
            <p:nvPr/>
          </p:nvSpPr>
          <p:spPr>
            <a:xfrm>
              <a:off x="-1673222" y="3088028"/>
              <a:ext cx="828250" cy="828609"/>
            </a:xfrm>
            <a:custGeom>
              <a:avLst/>
              <a:gdLst>
                <a:gd name="connsiteX0" fmla="*/ 3502 w 828250"/>
                <a:gd name="connsiteY0" fmla="*/ 825107 h 828609"/>
                <a:gd name="connsiteX1" fmla="*/ 3502 w 828250"/>
                <a:gd name="connsiteY1" fmla="*/ 825107 h 828609"/>
                <a:gd name="connsiteX2" fmla="*/ 3502 w 828250"/>
                <a:gd name="connsiteY2" fmla="*/ 808406 h 828609"/>
                <a:gd name="connsiteX3" fmla="*/ 808047 w 828250"/>
                <a:gd name="connsiteY3" fmla="*/ 3502 h 828609"/>
                <a:gd name="connsiteX4" fmla="*/ 824748 w 828250"/>
                <a:gd name="connsiteY4" fmla="*/ 3502 h 828609"/>
                <a:gd name="connsiteX5" fmla="*/ 824748 w 828250"/>
                <a:gd name="connsiteY5" fmla="*/ 3502 h 828609"/>
                <a:gd name="connsiteX6" fmla="*/ 824748 w 828250"/>
                <a:gd name="connsiteY6" fmla="*/ 20203 h 828609"/>
                <a:gd name="connsiteX7" fmla="*/ 20203 w 828250"/>
                <a:gd name="connsiteY7" fmla="*/ 825107 h 828609"/>
                <a:gd name="connsiteX8" fmla="*/ 3502 w 828250"/>
                <a:gd name="connsiteY8" fmla="*/ 825107 h 82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8250" h="828609">
                  <a:moveTo>
                    <a:pt x="3502" y="825107"/>
                  </a:moveTo>
                  <a:lnTo>
                    <a:pt x="3502" y="825107"/>
                  </a:lnTo>
                  <a:cubicBezTo>
                    <a:pt x="-1167" y="820438"/>
                    <a:pt x="-1167" y="813075"/>
                    <a:pt x="3502" y="808406"/>
                  </a:cubicBezTo>
                  <a:lnTo>
                    <a:pt x="808047" y="3502"/>
                  </a:lnTo>
                  <a:cubicBezTo>
                    <a:pt x="812716" y="-1167"/>
                    <a:pt x="820079" y="-1167"/>
                    <a:pt x="824748" y="3502"/>
                  </a:cubicBezTo>
                  <a:lnTo>
                    <a:pt x="824748" y="3502"/>
                  </a:lnTo>
                  <a:cubicBezTo>
                    <a:pt x="829418" y="8171"/>
                    <a:pt x="829418" y="15534"/>
                    <a:pt x="824748" y="20203"/>
                  </a:cubicBezTo>
                  <a:lnTo>
                    <a:pt x="20203" y="825107"/>
                  </a:lnTo>
                  <a:cubicBezTo>
                    <a:pt x="15534" y="829777"/>
                    <a:pt x="7992" y="829777"/>
                    <a:pt x="3502" y="825107"/>
                  </a:cubicBezTo>
                  <a:close/>
                </a:path>
              </a:pathLst>
            </a:custGeom>
            <a:solidFill>
              <a:srgbClr val="696076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51" name="Forme libre : forme 350">
              <a:extLst>
                <a:ext uri="{FF2B5EF4-FFF2-40B4-BE49-F238E27FC236}">
                  <a16:creationId xmlns:a16="http://schemas.microsoft.com/office/drawing/2014/main" id="{0F63755C-3A3B-BCE9-D60B-BE39E8797F73}"/>
                </a:ext>
              </a:extLst>
            </p:cNvPr>
            <p:cNvSpPr/>
            <p:nvPr/>
          </p:nvSpPr>
          <p:spPr>
            <a:xfrm>
              <a:off x="-874334" y="3072494"/>
              <a:ext cx="217837" cy="94462"/>
            </a:xfrm>
            <a:custGeom>
              <a:avLst/>
              <a:gdLst>
                <a:gd name="connsiteX0" fmla="*/ 156240 w 217837"/>
                <a:gd name="connsiteY0" fmla="*/ 94462 h 94462"/>
                <a:gd name="connsiteX1" fmla="*/ 0 w 217837"/>
                <a:gd name="connsiteY1" fmla="*/ 61598 h 94462"/>
                <a:gd name="connsiteX2" fmla="*/ 61598 w 217837"/>
                <a:gd name="connsiteY2" fmla="*/ 0 h 94462"/>
                <a:gd name="connsiteX3" fmla="*/ 217838 w 217837"/>
                <a:gd name="connsiteY3" fmla="*/ 32864 h 9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837" h="94462">
                  <a:moveTo>
                    <a:pt x="156240" y="94462"/>
                  </a:moveTo>
                  <a:lnTo>
                    <a:pt x="0" y="61598"/>
                  </a:lnTo>
                  <a:lnTo>
                    <a:pt x="61598" y="0"/>
                  </a:lnTo>
                  <a:lnTo>
                    <a:pt x="217838" y="32864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3CBCB948-1FDD-D7DA-EBF8-AF11CA70FD4F}"/>
                </a:ext>
              </a:extLst>
            </p:cNvPr>
            <p:cNvSpPr/>
            <p:nvPr/>
          </p:nvSpPr>
          <p:spPr>
            <a:xfrm>
              <a:off x="-961433" y="3159593"/>
              <a:ext cx="217837" cy="94462"/>
            </a:xfrm>
            <a:custGeom>
              <a:avLst/>
              <a:gdLst>
                <a:gd name="connsiteX0" fmla="*/ 156060 w 217837"/>
                <a:gd name="connsiteY0" fmla="*/ 94462 h 94462"/>
                <a:gd name="connsiteX1" fmla="*/ 0 w 217837"/>
                <a:gd name="connsiteY1" fmla="*/ 61598 h 94462"/>
                <a:gd name="connsiteX2" fmla="*/ 61598 w 217837"/>
                <a:gd name="connsiteY2" fmla="*/ 0 h 94462"/>
                <a:gd name="connsiteX3" fmla="*/ 217838 w 217837"/>
                <a:gd name="connsiteY3" fmla="*/ 32864 h 9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837" h="94462">
                  <a:moveTo>
                    <a:pt x="156060" y="94462"/>
                  </a:moveTo>
                  <a:lnTo>
                    <a:pt x="0" y="61598"/>
                  </a:lnTo>
                  <a:lnTo>
                    <a:pt x="61598" y="0"/>
                  </a:lnTo>
                  <a:lnTo>
                    <a:pt x="217838" y="32864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458CD328-2D6A-B750-CAB2-F8489877DB79}"/>
                </a:ext>
              </a:extLst>
            </p:cNvPr>
            <p:cNvSpPr/>
            <p:nvPr/>
          </p:nvSpPr>
          <p:spPr>
            <a:xfrm>
              <a:off x="-1048532" y="3246692"/>
              <a:ext cx="217658" cy="94641"/>
            </a:xfrm>
            <a:custGeom>
              <a:avLst/>
              <a:gdLst>
                <a:gd name="connsiteX0" fmla="*/ 156060 w 217658"/>
                <a:gd name="connsiteY0" fmla="*/ 94642 h 94641"/>
                <a:gd name="connsiteX1" fmla="*/ 0 w 217658"/>
                <a:gd name="connsiteY1" fmla="*/ 61778 h 94641"/>
                <a:gd name="connsiteX2" fmla="*/ 61598 w 217658"/>
                <a:gd name="connsiteY2" fmla="*/ 0 h 94641"/>
                <a:gd name="connsiteX3" fmla="*/ 217658 w 217658"/>
                <a:gd name="connsiteY3" fmla="*/ 33044 h 9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658" h="94641">
                  <a:moveTo>
                    <a:pt x="156060" y="94642"/>
                  </a:moveTo>
                  <a:lnTo>
                    <a:pt x="0" y="61778"/>
                  </a:lnTo>
                  <a:lnTo>
                    <a:pt x="61598" y="0"/>
                  </a:lnTo>
                  <a:lnTo>
                    <a:pt x="217658" y="33044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8D94025B-D5A2-100B-4F45-5742D29F0760}"/>
                </a:ext>
              </a:extLst>
            </p:cNvPr>
            <p:cNvSpPr/>
            <p:nvPr/>
          </p:nvSpPr>
          <p:spPr>
            <a:xfrm>
              <a:off x="-923899" y="2899552"/>
              <a:ext cx="94462" cy="217837"/>
            </a:xfrm>
            <a:custGeom>
              <a:avLst/>
              <a:gdLst>
                <a:gd name="connsiteX0" fmla="*/ 0 w 94462"/>
                <a:gd name="connsiteY0" fmla="*/ 61778 h 217837"/>
                <a:gd name="connsiteX1" fmla="*/ 32864 w 94462"/>
                <a:gd name="connsiteY1" fmla="*/ 217838 h 217837"/>
                <a:gd name="connsiteX2" fmla="*/ 94462 w 94462"/>
                <a:gd name="connsiteY2" fmla="*/ 156240 h 217837"/>
                <a:gd name="connsiteX3" fmla="*/ 61598 w 94462"/>
                <a:gd name="connsiteY3" fmla="*/ 0 h 217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462" h="217837">
                  <a:moveTo>
                    <a:pt x="0" y="61778"/>
                  </a:moveTo>
                  <a:lnTo>
                    <a:pt x="32864" y="217838"/>
                  </a:lnTo>
                  <a:lnTo>
                    <a:pt x="94462" y="156240"/>
                  </a:lnTo>
                  <a:lnTo>
                    <a:pt x="61598" y="0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02B81200-D0B7-6A97-5E78-EB8E51CA41D4}"/>
                </a:ext>
              </a:extLst>
            </p:cNvPr>
            <p:cNvSpPr/>
            <p:nvPr/>
          </p:nvSpPr>
          <p:spPr>
            <a:xfrm>
              <a:off x="-1010999" y="2986831"/>
              <a:ext cx="94462" cy="217837"/>
            </a:xfrm>
            <a:custGeom>
              <a:avLst/>
              <a:gdLst>
                <a:gd name="connsiteX0" fmla="*/ 0 w 94462"/>
                <a:gd name="connsiteY0" fmla="*/ 61598 h 217837"/>
                <a:gd name="connsiteX1" fmla="*/ 32864 w 94462"/>
                <a:gd name="connsiteY1" fmla="*/ 217838 h 217837"/>
                <a:gd name="connsiteX2" fmla="*/ 94462 w 94462"/>
                <a:gd name="connsiteY2" fmla="*/ 156060 h 217837"/>
                <a:gd name="connsiteX3" fmla="*/ 61598 w 94462"/>
                <a:gd name="connsiteY3" fmla="*/ 0 h 217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462" h="217837">
                  <a:moveTo>
                    <a:pt x="0" y="61598"/>
                  </a:moveTo>
                  <a:lnTo>
                    <a:pt x="32864" y="217838"/>
                  </a:lnTo>
                  <a:lnTo>
                    <a:pt x="94462" y="156060"/>
                  </a:lnTo>
                  <a:lnTo>
                    <a:pt x="61598" y="0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C2FF79CC-1D4D-D00A-0E18-F9C9D02B8F5B}"/>
                </a:ext>
              </a:extLst>
            </p:cNvPr>
            <p:cNvSpPr/>
            <p:nvPr/>
          </p:nvSpPr>
          <p:spPr>
            <a:xfrm>
              <a:off x="-1098277" y="3073930"/>
              <a:ext cx="94641" cy="217837"/>
            </a:xfrm>
            <a:custGeom>
              <a:avLst/>
              <a:gdLst>
                <a:gd name="connsiteX0" fmla="*/ 0 w 94641"/>
                <a:gd name="connsiteY0" fmla="*/ 61598 h 217837"/>
                <a:gd name="connsiteX1" fmla="*/ 33044 w 94641"/>
                <a:gd name="connsiteY1" fmla="*/ 217838 h 217837"/>
                <a:gd name="connsiteX2" fmla="*/ 94642 w 94641"/>
                <a:gd name="connsiteY2" fmla="*/ 156240 h 217837"/>
                <a:gd name="connsiteX3" fmla="*/ 61778 w 94641"/>
                <a:gd name="connsiteY3" fmla="*/ 0 h 217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641" h="217837">
                  <a:moveTo>
                    <a:pt x="0" y="61598"/>
                  </a:moveTo>
                  <a:lnTo>
                    <a:pt x="33044" y="217838"/>
                  </a:lnTo>
                  <a:lnTo>
                    <a:pt x="94642" y="156240"/>
                  </a:lnTo>
                  <a:lnTo>
                    <a:pt x="61778" y="0"/>
                  </a:lnTo>
                  <a:close/>
                </a:path>
              </a:pathLst>
            </a:custGeom>
            <a:solidFill>
              <a:srgbClr val="00AF9C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</p:grpSp>
      <p:grpSp>
        <p:nvGrpSpPr>
          <p:cNvPr id="105" name="Graphique 482">
            <a:extLst>
              <a:ext uri="{FF2B5EF4-FFF2-40B4-BE49-F238E27FC236}">
                <a16:creationId xmlns:a16="http://schemas.microsoft.com/office/drawing/2014/main" id="{DA3879DB-CB79-8EA5-B388-AE3A2FC2B73A}"/>
              </a:ext>
            </a:extLst>
          </p:cNvPr>
          <p:cNvGrpSpPr/>
          <p:nvPr/>
        </p:nvGrpSpPr>
        <p:grpSpPr>
          <a:xfrm>
            <a:off x="2121782" y="988514"/>
            <a:ext cx="160711" cy="160711"/>
            <a:chOff x="-1093966" y="3507810"/>
            <a:chExt cx="142230" cy="142231"/>
          </a:xfrm>
          <a:solidFill>
            <a:srgbClr val="8674B3"/>
          </a:solidFill>
        </p:grpSpPr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9218E5E5-03AE-C684-3A21-300A6C3067C9}"/>
                </a:ext>
              </a:extLst>
            </p:cNvPr>
            <p:cNvSpPr/>
            <p:nvPr/>
          </p:nvSpPr>
          <p:spPr>
            <a:xfrm>
              <a:off x="-1084270" y="3517508"/>
              <a:ext cx="122836" cy="122836"/>
            </a:xfrm>
            <a:custGeom>
              <a:avLst/>
              <a:gdLst>
                <a:gd name="connsiteX0" fmla="*/ 61418 w 122836"/>
                <a:gd name="connsiteY0" fmla="*/ 0 h 122836"/>
                <a:gd name="connsiteX1" fmla="*/ 0 w 122836"/>
                <a:gd name="connsiteY1" fmla="*/ 61418 h 122836"/>
                <a:gd name="connsiteX2" fmla="*/ 61418 w 122836"/>
                <a:gd name="connsiteY2" fmla="*/ 122837 h 122836"/>
                <a:gd name="connsiteX3" fmla="*/ 122837 w 122836"/>
                <a:gd name="connsiteY3" fmla="*/ 61418 h 122836"/>
                <a:gd name="connsiteX4" fmla="*/ 61418 w 122836"/>
                <a:gd name="connsiteY4" fmla="*/ 0 h 122836"/>
                <a:gd name="connsiteX5" fmla="*/ 61418 w 122836"/>
                <a:gd name="connsiteY5" fmla="*/ 93923 h 122836"/>
                <a:gd name="connsiteX6" fmla="*/ 28913 w 122836"/>
                <a:gd name="connsiteY6" fmla="*/ 61418 h 122836"/>
                <a:gd name="connsiteX7" fmla="*/ 61418 w 122836"/>
                <a:gd name="connsiteY7" fmla="*/ 28913 h 122836"/>
                <a:gd name="connsiteX8" fmla="*/ 93924 w 122836"/>
                <a:gd name="connsiteY8" fmla="*/ 61418 h 122836"/>
                <a:gd name="connsiteX9" fmla="*/ 61418 w 122836"/>
                <a:gd name="connsiteY9" fmla="*/ 93923 h 122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836" h="122836">
                  <a:moveTo>
                    <a:pt x="61418" y="0"/>
                  </a:moveTo>
                  <a:cubicBezTo>
                    <a:pt x="27477" y="0"/>
                    <a:pt x="0" y="27477"/>
                    <a:pt x="0" y="61418"/>
                  </a:cubicBezTo>
                  <a:cubicBezTo>
                    <a:pt x="0" y="95360"/>
                    <a:pt x="27477" y="122837"/>
                    <a:pt x="61418" y="122837"/>
                  </a:cubicBezTo>
                  <a:cubicBezTo>
                    <a:pt x="95360" y="122837"/>
                    <a:pt x="122837" y="95360"/>
                    <a:pt x="122837" y="61418"/>
                  </a:cubicBezTo>
                  <a:cubicBezTo>
                    <a:pt x="122837" y="27477"/>
                    <a:pt x="95360" y="0"/>
                    <a:pt x="61418" y="0"/>
                  </a:cubicBezTo>
                  <a:close/>
                  <a:moveTo>
                    <a:pt x="61418" y="93923"/>
                  </a:moveTo>
                  <a:cubicBezTo>
                    <a:pt x="43460" y="93923"/>
                    <a:pt x="28913" y="79377"/>
                    <a:pt x="28913" y="61418"/>
                  </a:cubicBezTo>
                  <a:cubicBezTo>
                    <a:pt x="28913" y="43460"/>
                    <a:pt x="43460" y="28913"/>
                    <a:pt x="61418" y="28913"/>
                  </a:cubicBezTo>
                  <a:cubicBezTo>
                    <a:pt x="79377" y="28913"/>
                    <a:pt x="93924" y="43460"/>
                    <a:pt x="93924" y="61418"/>
                  </a:cubicBezTo>
                  <a:cubicBezTo>
                    <a:pt x="94103" y="79377"/>
                    <a:pt x="79377" y="93923"/>
                    <a:pt x="61418" y="93923"/>
                  </a:cubicBez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8EA8768F-FE52-DC68-4235-753CCCEA2120}"/>
                </a:ext>
              </a:extLst>
            </p:cNvPr>
            <p:cNvSpPr/>
            <p:nvPr/>
          </p:nvSpPr>
          <p:spPr>
            <a:xfrm>
              <a:off x="-1035243" y="3507810"/>
              <a:ext cx="24782" cy="21370"/>
            </a:xfrm>
            <a:custGeom>
              <a:avLst/>
              <a:gdLst>
                <a:gd name="connsiteX0" fmla="*/ 24783 w 24782"/>
                <a:gd name="connsiteY0" fmla="*/ 21371 h 21370"/>
                <a:gd name="connsiteX1" fmla="*/ 0 w 24782"/>
                <a:gd name="connsiteY1" fmla="*/ 21371 h 21370"/>
                <a:gd name="connsiteX2" fmla="*/ 2335 w 24782"/>
                <a:gd name="connsiteY2" fmla="*/ 718 h 21370"/>
                <a:gd name="connsiteX3" fmla="*/ 12391 w 24782"/>
                <a:gd name="connsiteY3" fmla="*/ 0 h 21370"/>
                <a:gd name="connsiteX4" fmla="*/ 22448 w 24782"/>
                <a:gd name="connsiteY4" fmla="*/ 718 h 21370"/>
                <a:gd name="connsiteX5" fmla="*/ 24783 w 24782"/>
                <a:gd name="connsiteY5" fmla="*/ 21371 h 2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82" h="21370">
                  <a:moveTo>
                    <a:pt x="24783" y="21371"/>
                  </a:moveTo>
                  <a:lnTo>
                    <a:pt x="0" y="21371"/>
                  </a:lnTo>
                  <a:lnTo>
                    <a:pt x="2335" y="718"/>
                  </a:lnTo>
                  <a:cubicBezTo>
                    <a:pt x="5567" y="180"/>
                    <a:pt x="8979" y="0"/>
                    <a:pt x="12391" y="0"/>
                  </a:cubicBezTo>
                  <a:cubicBezTo>
                    <a:pt x="15804" y="0"/>
                    <a:pt x="19216" y="180"/>
                    <a:pt x="22448" y="718"/>
                  </a:cubicBezTo>
                  <a:lnTo>
                    <a:pt x="24783" y="21371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92B9E3B1-011F-F139-9A8C-45E365A5AB0C}"/>
                </a:ext>
              </a:extLst>
            </p:cNvPr>
            <p:cNvSpPr/>
            <p:nvPr/>
          </p:nvSpPr>
          <p:spPr>
            <a:xfrm>
              <a:off x="-1066670" y="3513018"/>
              <a:ext cx="29631" cy="28913"/>
            </a:xfrm>
            <a:custGeom>
              <a:avLst/>
              <a:gdLst>
                <a:gd name="connsiteX0" fmla="*/ 29632 w 29631"/>
                <a:gd name="connsiteY0" fmla="*/ 16522 h 28913"/>
                <a:gd name="connsiteX1" fmla="*/ 8261 w 29631"/>
                <a:gd name="connsiteY1" fmla="*/ 28913 h 28913"/>
                <a:gd name="connsiteX2" fmla="*/ 0 w 29631"/>
                <a:gd name="connsiteY2" fmla="*/ 9877 h 28913"/>
                <a:gd name="connsiteX3" fmla="*/ 8261 w 29631"/>
                <a:gd name="connsiteY3" fmla="*/ 4310 h 28913"/>
                <a:gd name="connsiteX4" fmla="*/ 17240 w 29631"/>
                <a:gd name="connsiteY4" fmla="*/ 0 h 28913"/>
                <a:gd name="connsiteX5" fmla="*/ 29632 w 29631"/>
                <a:gd name="connsiteY5" fmla="*/ 16522 h 2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31" h="28913">
                  <a:moveTo>
                    <a:pt x="29632" y="16522"/>
                  </a:moveTo>
                  <a:lnTo>
                    <a:pt x="8261" y="28913"/>
                  </a:lnTo>
                  <a:lnTo>
                    <a:pt x="0" y="9877"/>
                  </a:lnTo>
                  <a:cubicBezTo>
                    <a:pt x="2514" y="7902"/>
                    <a:pt x="5388" y="5926"/>
                    <a:pt x="8261" y="4310"/>
                  </a:cubicBezTo>
                  <a:cubicBezTo>
                    <a:pt x="11134" y="2694"/>
                    <a:pt x="14187" y="1078"/>
                    <a:pt x="17240" y="0"/>
                  </a:cubicBezTo>
                  <a:lnTo>
                    <a:pt x="29632" y="16522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872519F2-79CB-CC25-5D3D-30F80BBE65D2}"/>
                </a:ext>
              </a:extLst>
            </p:cNvPr>
            <p:cNvSpPr/>
            <p:nvPr/>
          </p:nvSpPr>
          <p:spPr>
            <a:xfrm>
              <a:off x="-1088759" y="3534927"/>
              <a:ext cx="29092" cy="29631"/>
            </a:xfrm>
            <a:custGeom>
              <a:avLst/>
              <a:gdLst>
                <a:gd name="connsiteX0" fmla="*/ 29093 w 29092"/>
                <a:gd name="connsiteY0" fmla="*/ 8261 h 29631"/>
                <a:gd name="connsiteX1" fmla="*/ 16702 w 29092"/>
                <a:gd name="connsiteY1" fmla="*/ 29632 h 29631"/>
                <a:gd name="connsiteX2" fmla="*/ 0 w 29092"/>
                <a:gd name="connsiteY2" fmla="*/ 17240 h 29631"/>
                <a:gd name="connsiteX3" fmla="*/ 4310 w 29092"/>
                <a:gd name="connsiteY3" fmla="*/ 8261 h 29631"/>
                <a:gd name="connsiteX4" fmla="*/ 9877 w 29092"/>
                <a:gd name="connsiteY4" fmla="*/ 0 h 29631"/>
                <a:gd name="connsiteX5" fmla="*/ 29093 w 29092"/>
                <a:gd name="connsiteY5" fmla="*/ 8261 h 2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092" h="29631">
                  <a:moveTo>
                    <a:pt x="29093" y="8261"/>
                  </a:moveTo>
                  <a:lnTo>
                    <a:pt x="16702" y="29632"/>
                  </a:lnTo>
                  <a:lnTo>
                    <a:pt x="0" y="17240"/>
                  </a:lnTo>
                  <a:cubicBezTo>
                    <a:pt x="1257" y="14187"/>
                    <a:pt x="2694" y="11134"/>
                    <a:pt x="4310" y="8261"/>
                  </a:cubicBezTo>
                  <a:cubicBezTo>
                    <a:pt x="5926" y="5388"/>
                    <a:pt x="7902" y="2514"/>
                    <a:pt x="9877" y="0"/>
                  </a:cubicBezTo>
                  <a:lnTo>
                    <a:pt x="29093" y="8261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1F0FB9ED-39C6-037E-E6DE-3C7B4CC5ECA1}"/>
                </a:ext>
              </a:extLst>
            </p:cNvPr>
            <p:cNvSpPr/>
            <p:nvPr/>
          </p:nvSpPr>
          <p:spPr>
            <a:xfrm>
              <a:off x="-1093966" y="3566533"/>
              <a:ext cx="21370" cy="24782"/>
            </a:xfrm>
            <a:custGeom>
              <a:avLst/>
              <a:gdLst>
                <a:gd name="connsiteX0" fmla="*/ 21371 w 21370"/>
                <a:gd name="connsiteY0" fmla="*/ 0 h 24782"/>
                <a:gd name="connsiteX1" fmla="*/ 21371 w 21370"/>
                <a:gd name="connsiteY1" fmla="*/ 24783 h 24782"/>
                <a:gd name="connsiteX2" fmla="*/ 718 w 21370"/>
                <a:gd name="connsiteY2" fmla="*/ 22448 h 24782"/>
                <a:gd name="connsiteX3" fmla="*/ 0 w 21370"/>
                <a:gd name="connsiteY3" fmla="*/ 12391 h 24782"/>
                <a:gd name="connsiteX4" fmla="*/ 718 w 21370"/>
                <a:gd name="connsiteY4" fmla="*/ 2335 h 24782"/>
                <a:gd name="connsiteX5" fmla="*/ 21371 w 21370"/>
                <a:gd name="connsiteY5" fmla="*/ 0 h 2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70" h="24782">
                  <a:moveTo>
                    <a:pt x="21371" y="0"/>
                  </a:moveTo>
                  <a:lnTo>
                    <a:pt x="21371" y="24783"/>
                  </a:lnTo>
                  <a:lnTo>
                    <a:pt x="718" y="22448"/>
                  </a:lnTo>
                  <a:cubicBezTo>
                    <a:pt x="180" y="19216"/>
                    <a:pt x="0" y="15804"/>
                    <a:pt x="0" y="12391"/>
                  </a:cubicBezTo>
                  <a:cubicBezTo>
                    <a:pt x="0" y="8979"/>
                    <a:pt x="180" y="5567"/>
                    <a:pt x="718" y="2335"/>
                  </a:cubicBezTo>
                  <a:lnTo>
                    <a:pt x="21371" y="0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54" name="Forme libre : forme 353">
              <a:extLst>
                <a:ext uri="{FF2B5EF4-FFF2-40B4-BE49-F238E27FC236}">
                  <a16:creationId xmlns:a16="http://schemas.microsoft.com/office/drawing/2014/main" id="{15D37E16-227B-F3D3-CC9F-665EC9D0479B}"/>
                </a:ext>
              </a:extLst>
            </p:cNvPr>
            <p:cNvSpPr/>
            <p:nvPr/>
          </p:nvSpPr>
          <p:spPr>
            <a:xfrm>
              <a:off x="-1088580" y="3593113"/>
              <a:ext cx="28913" cy="29631"/>
            </a:xfrm>
            <a:custGeom>
              <a:avLst/>
              <a:gdLst>
                <a:gd name="connsiteX0" fmla="*/ 16522 w 28913"/>
                <a:gd name="connsiteY0" fmla="*/ 0 h 29631"/>
                <a:gd name="connsiteX1" fmla="*/ 28913 w 28913"/>
                <a:gd name="connsiteY1" fmla="*/ 21371 h 29631"/>
                <a:gd name="connsiteX2" fmla="*/ 9877 w 28913"/>
                <a:gd name="connsiteY2" fmla="*/ 29632 h 29631"/>
                <a:gd name="connsiteX3" fmla="*/ 4310 w 28913"/>
                <a:gd name="connsiteY3" fmla="*/ 21371 h 29631"/>
                <a:gd name="connsiteX4" fmla="*/ 0 w 28913"/>
                <a:gd name="connsiteY4" fmla="*/ 12391 h 29631"/>
                <a:gd name="connsiteX5" fmla="*/ 16522 w 28913"/>
                <a:gd name="connsiteY5" fmla="*/ 0 h 2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13" h="29631">
                  <a:moveTo>
                    <a:pt x="16522" y="0"/>
                  </a:moveTo>
                  <a:lnTo>
                    <a:pt x="28913" y="21371"/>
                  </a:lnTo>
                  <a:lnTo>
                    <a:pt x="9877" y="29632"/>
                  </a:lnTo>
                  <a:cubicBezTo>
                    <a:pt x="7902" y="27117"/>
                    <a:pt x="5926" y="24244"/>
                    <a:pt x="4310" y="21371"/>
                  </a:cubicBezTo>
                  <a:cubicBezTo>
                    <a:pt x="2694" y="18497"/>
                    <a:pt x="1077" y="15444"/>
                    <a:pt x="0" y="12391"/>
                  </a:cubicBezTo>
                  <a:lnTo>
                    <a:pt x="16522" y="0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0" name="Forme libre : forme 379">
              <a:extLst>
                <a:ext uri="{FF2B5EF4-FFF2-40B4-BE49-F238E27FC236}">
                  <a16:creationId xmlns:a16="http://schemas.microsoft.com/office/drawing/2014/main" id="{6A4BBCF6-10B5-F4D6-EE74-ED4F838C8D8A}"/>
                </a:ext>
              </a:extLst>
            </p:cNvPr>
            <p:cNvSpPr/>
            <p:nvPr/>
          </p:nvSpPr>
          <p:spPr>
            <a:xfrm>
              <a:off x="-1066670" y="3615741"/>
              <a:ext cx="29631" cy="29092"/>
            </a:xfrm>
            <a:custGeom>
              <a:avLst/>
              <a:gdLst>
                <a:gd name="connsiteX0" fmla="*/ 8261 w 29631"/>
                <a:gd name="connsiteY0" fmla="*/ 0 h 29092"/>
                <a:gd name="connsiteX1" fmla="*/ 29632 w 29631"/>
                <a:gd name="connsiteY1" fmla="*/ 12391 h 29092"/>
                <a:gd name="connsiteX2" fmla="*/ 17240 w 29631"/>
                <a:gd name="connsiteY2" fmla="*/ 29093 h 29092"/>
                <a:gd name="connsiteX3" fmla="*/ 8261 w 29631"/>
                <a:gd name="connsiteY3" fmla="*/ 24783 h 29092"/>
                <a:gd name="connsiteX4" fmla="*/ 0 w 29631"/>
                <a:gd name="connsiteY4" fmla="*/ 19216 h 29092"/>
                <a:gd name="connsiteX5" fmla="*/ 8261 w 29631"/>
                <a:gd name="connsiteY5" fmla="*/ 0 h 2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31" h="29092">
                  <a:moveTo>
                    <a:pt x="8261" y="0"/>
                  </a:moveTo>
                  <a:lnTo>
                    <a:pt x="29632" y="12391"/>
                  </a:lnTo>
                  <a:lnTo>
                    <a:pt x="17240" y="29093"/>
                  </a:lnTo>
                  <a:cubicBezTo>
                    <a:pt x="14187" y="27836"/>
                    <a:pt x="11134" y="26399"/>
                    <a:pt x="8261" y="24783"/>
                  </a:cubicBezTo>
                  <a:cubicBezTo>
                    <a:pt x="5388" y="23167"/>
                    <a:pt x="2514" y="21191"/>
                    <a:pt x="0" y="19216"/>
                  </a:cubicBezTo>
                  <a:lnTo>
                    <a:pt x="8261" y="0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1" name="Forme libre : forme 380">
              <a:extLst>
                <a:ext uri="{FF2B5EF4-FFF2-40B4-BE49-F238E27FC236}">
                  <a16:creationId xmlns:a16="http://schemas.microsoft.com/office/drawing/2014/main" id="{DF4A208A-A080-7D83-6F56-B1F8D5AEFAAA}"/>
                </a:ext>
              </a:extLst>
            </p:cNvPr>
            <p:cNvSpPr/>
            <p:nvPr/>
          </p:nvSpPr>
          <p:spPr>
            <a:xfrm>
              <a:off x="-1035063" y="3628671"/>
              <a:ext cx="24782" cy="21370"/>
            </a:xfrm>
            <a:custGeom>
              <a:avLst/>
              <a:gdLst>
                <a:gd name="connsiteX0" fmla="*/ 0 w 24782"/>
                <a:gd name="connsiteY0" fmla="*/ 0 h 21370"/>
                <a:gd name="connsiteX1" fmla="*/ 24783 w 24782"/>
                <a:gd name="connsiteY1" fmla="*/ 0 h 21370"/>
                <a:gd name="connsiteX2" fmla="*/ 22448 w 24782"/>
                <a:gd name="connsiteY2" fmla="*/ 20652 h 21370"/>
                <a:gd name="connsiteX3" fmla="*/ 12391 w 24782"/>
                <a:gd name="connsiteY3" fmla="*/ 21371 h 21370"/>
                <a:gd name="connsiteX4" fmla="*/ 2335 w 24782"/>
                <a:gd name="connsiteY4" fmla="*/ 20652 h 21370"/>
                <a:gd name="connsiteX5" fmla="*/ 0 w 24782"/>
                <a:gd name="connsiteY5" fmla="*/ 0 h 2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82" h="21370">
                  <a:moveTo>
                    <a:pt x="0" y="0"/>
                  </a:moveTo>
                  <a:lnTo>
                    <a:pt x="24783" y="0"/>
                  </a:lnTo>
                  <a:lnTo>
                    <a:pt x="22448" y="20652"/>
                  </a:lnTo>
                  <a:cubicBezTo>
                    <a:pt x="19216" y="21191"/>
                    <a:pt x="15804" y="21371"/>
                    <a:pt x="12391" y="21371"/>
                  </a:cubicBezTo>
                  <a:cubicBezTo>
                    <a:pt x="8979" y="21371"/>
                    <a:pt x="5567" y="21191"/>
                    <a:pt x="2335" y="206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2" name="Forme libre : forme 381">
              <a:extLst>
                <a:ext uri="{FF2B5EF4-FFF2-40B4-BE49-F238E27FC236}">
                  <a16:creationId xmlns:a16="http://schemas.microsoft.com/office/drawing/2014/main" id="{22C1C43A-5CAE-70C6-7079-80E2ADC89C9D}"/>
                </a:ext>
              </a:extLst>
            </p:cNvPr>
            <p:cNvSpPr/>
            <p:nvPr/>
          </p:nvSpPr>
          <p:spPr>
            <a:xfrm>
              <a:off x="-1008664" y="3615741"/>
              <a:ext cx="29631" cy="28913"/>
            </a:xfrm>
            <a:custGeom>
              <a:avLst/>
              <a:gdLst>
                <a:gd name="connsiteX0" fmla="*/ 0 w 29631"/>
                <a:gd name="connsiteY0" fmla="*/ 12391 h 28913"/>
                <a:gd name="connsiteX1" fmla="*/ 21371 w 29631"/>
                <a:gd name="connsiteY1" fmla="*/ 0 h 28913"/>
                <a:gd name="connsiteX2" fmla="*/ 29632 w 29631"/>
                <a:gd name="connsiteY2" fmla="*/ 19036 h 28913"/>
                <a:gd name="connsiteX3" fmla="*/ 21371 w 29631"/>
                <a:gd name="connsiteY3" fmla="*/ 24603 h 28913"/>
                <a:gd name="connsiteX4" fmla="*/ 12391 w 29631"/>
                <a:gd name="connsiteY4" fmla="*/ 28913 h 28913"/>
                <a:gd name="connsiteX5" fmla="*/ 0 w 29631"/>
                <a:gd name="connsiteY5" fmla="*/ 12391 h 2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31" h="28913">
                  <a:moveTo>
                    <a:pt x="0" y="12391"/>
                  </a:moveTo>
                  <a:lnTo>
                    <a:pt x="21371" y="0"/>
                  </a:lnTo>
                  <a:lnTo>
                    <a:pt x="29632" y="19036"/>
                  </a:lnTo>
                  <a:cubicBezTo>
                    <a:pt x="27117" y="21012"/>
                    <a:pt x="24244" y="22987"/>
                    <a:pt x="21371" y="24603"/>
                  </a:cubicBezTo>
                  <a:cubicBezTo>
                    <a:pt x="18497" y="26220"/>
                    <a:pt x="15444" y="27836"/>
                    <a:pt x="12391" y="28913"/>
                  </a:cubicBezTo>
                  <a:lnTo>
                    <a:pt x="0" y="12391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3" name="Forme libre : forme 382">
              <a:extLst>
                <a:ext uri="{FF2B5EF4-FFF2-40B4-BE49-F238E27FC236}">
                  <a16:creationId xmlns:a16="http://schemas.microsoft.com/office/drawing/2014/main" id="{6FA01DDD-FC7D-6AF0-AE14-68AB8A021B01}"/>
                </a:ext>
              </a:extLst>
            </p:cNvPr>
            <p:cNvSpPr/>
            <p:nvPr/>
          </p:nvSpPr>
          <p:spPr>
            <a:xfrm>
              <a:off x="-985856" y="3593113"/>
              <a:ext cx="29092" cy="29631"/>
            </a:xfrm>
            <a:custGeom>
              <a:avLst/>
              <a:gdLst>
                <a:gd name="connsiteX0" fmla="*/ 0 w 29092"/>
                <a:gd name="connsiteY0" fmla="*/ 21371 h 29631"/>
                <a:gd name="connsiteX1" fmla="*/ 12391 w 29092"/>
                <a:gd name="connsiteY1" fmla="*/ 0 h 29631"/>
                <a:gd name="connsiteX2" fmla="*/ 29093 w 29092"/>
                <a:gd name="connsiteY2" fmla="*/ 12391 h 29631"/>
                <a:gd name="connsiteX3" fmla="*/ 24783 w 29092"/>
                <a:gd name="connsiteY3" fmla="*/ 21371 h 29631"/>
                <a:gd name="connsiteX4" fmla="*/ 19216 w 29092"/>
                <a:gd name="connsiteY4" fmla="*/ 29632 h 29631"/>
                <a:gd name="connsiteX5" fmla="*/ 0 w 29092"/>
                <a:gd name="connsiteY5" fmla="*/ 21371 h 2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092" h="29631">
                  <a:moveTo>
                    <a:pt x="0" y="21371"/>
                  </a:moveTo>
                  <a:lnTo>
                    <a:pt x="12391" y="0"/>
                  </a:lnTo>
                  <a:lnTo>
                    <a:pt x="29093" y="12391"/>
                  </a:lnTo>
                  <a:cubicBezTo>
                    <a:pt x="27836" y="15444"/>
                    <a:pt x="26399" y="18497"/>
                    <a:pt x="24783" y="21371"/>
                  </a:cubicBezTo>
                  <a:cubicBezTo>
                    <a:pt x="23167" y="24244"/>
                    <a:pt x="21191" y="27117"/>
                    <a:pt x="19216" y="29632"/>
                  </a:cubicBezTo>
                  <a:lnTo>
                    <a:pt x="0" y="21371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4" name="Forme libre : forme 383">
              <a:extLst>
                <a:ext uri="{FF2B5EF4-FFF2-40B4-BE49-F238E27FC236}">
                  <a16:creationId xmlns:a16="http://schemas.microsoft.com/office/drawing/2014/main" id="{6C78FD26-7927-CB33-1D71-6B751890E849}"/>
                </a:ext>
              </a:extLst>
            </p:cNvPr>
            <p:cNvSpPr/>
            <p:nvPr/>
          </p:nvSpPr>
          <p:spPr>
            <a:xfrm>
              <a:off x="-973106" y="3566355"/>
              <a:ext cx="21370" cy="24782"/>
            </a:xfrm>
            <a:custGeom>
              <a:avLst/>
              <a:gdLst>
                <a:gd name="connsiteX0" fmla="*/ 0 w 21370"/>
                <a:gd name="connsiteY0" fmla="*/ 24783 h 24782"/>
                <a:gd name="connsiteX1" fmla="*/ 0 w 21370"/>
                <a:gd name="connsiteY1" fmla="*/ 0 h 24782"/>
                <a:gd name="connsiteX2" fmla="*/ 20652 w 21370"/>
                <a:gd name="connsiteY2" fmla="*/ 2335 h 24782"/>
                <a:gd name="connsiteX3" fmla="*/ 21371 w 21370"/>
                <a:gd name="connsiteY3" fmla="*/ 12391 h 24782"/>
                <a:gd name="connsiteX4" fmla="*/ 20652 w 21370"/>
                <a:gd name="connsiteY4" fmla="*/ 22448 h 24782"/>
                <a:gd name="connsiteX5" fmla="*/ 0 w 21370"/>
                <a:gd name="connsiteY5" fmla="*/ 24783 h 2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70" h="24782">
                  <a:moveTo>
                    <a:pt x="0" y="24783"/>
                  </a:moveTo>
                  <a:lnTo>
                    <a:pt x="0" y="0"/>
                  </a:lnTo>
                  <a:lnTo>
                    <a:pt x="20652" y="2335"/>
                  </a:lnTo>
                  <a:cubicBezTo>
                    <a:pt x="21191" y="5567"/>
                    <a:pt x="21371" y="8979"/>
                    <a:pt x="21371" y="12391"/>
                  </a:cubicBezTo>
                  <a:cubicBezTo>
                    <a:pt x="21371" y="15804"/>
                    <a:pt x="21191" y="19216"/>
                    <a:pt x="20652" y="22448"/>
                  </a:cubicBezTo>
                  <a:lnTo>
                    <a:pt x="0" y="24783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5" name="Forme libre : forme 384">
              <a:extLst>
                <a:ext uri="{FF2B5EF4-FFF2-40B4-BE49-F238E27FC236}">
                  <a16:creationId xmlns:a16="http://schemas.microsoft.com/office/drawing/2014/main" id="{D1CFB591-032B-CF4F-E57C-ADFA4904747B}"/>
                </a:ext>
              </a:extLst>
            </p:cNvPr>
            <p:cNvSpPr/>
            <p:nvPr/>
          </p:nvSpPr>
          <p:spPr>
            <a:xfrm>
              <a:off x="-985856" y="3535107"/>
              <a:ext cx="28913" cy="29631"/>
            </a:xfrm>
            <a:custGeom>
              <a:avLst/>
              <a:gdLst>
                <a:gd name="connsiteX0" fmla="*/ 12391 w 28913"/>
                <a:gd name="connsiteY0" fmla="*/ 29632 h 29631"/>
                <a:gd name="connsiteX1" fmla="*/ 0 w 28913"/>
                <a:gd name="connsiteY1" fmla="*/ 8261 h 29631"/>
                <a:gd name="connsiteX2" fmla="*/ 19036 w 28913"/>
                <a:gd name="connsiteY2" fmla="*/ 0 h 29631"/>
                <a:gd name="connsiteX3" fmla="*/ 24603 w 28913"/>
                <a:gd name="connsiteY3" fmla="*/ 8261 h 29631"/>
                <a:gd name="connsiteX4" fmla="*/ 28913 w 28913"/>
                <a:gd name="connsiteY4" fmla="*/ 17240 h 29631"/>
                <a:gd name="connsiteX5" fmla="*/ 12391 w 28913"/>
                <a:gd name="connsiteY5" fmla="*/ 29632 h 2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13" h="29631">
                  <a:moveTo>
                    <a:pt x="12391" y="29632"/>
                  </a:moveTo>
                  <a:lnTo>
                    <a:pt x="0" y="8261"/>
                  </a:lnTo>
                  <a:lnTo>
                    <a:pt x="19036" y="0"/>
                  </a:lnTo>
                  <a:cubicBezTo>
                    <a:pt x="21011" y="2514"/>
                    <a:pt x="22987" y="5388"/>
                    <a:pt x="24603" y="8261"/>
                  </a:cubicBezTo>
                  <a:cubicBezTo>
                    <a:pt x="26220" y="11134"/>
                    <a:pt x="27836" y="14187"/>
                    <a:pt x="28913" y="17240"/>
                  </a:cubicBezTo>
                  <a:lnTo>
                    <a:pt x="12391" y="29632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  <p:sp>
          <p:nvSpPr>
            <p:cNvPr id="386" name="Forme libre : forme 385">
              <a:extLst>
                <a:ext uri="{FF2B5EF4-FFF2-40B4-BE49-F238E27FC236}">
                  <a16:creationId xmlns:a16="http://schemas.microsoft.com/office/drawing/2014/main" id="{2310342E-BDE4-D020-5712-F023BB5AA3FC}"/>
                </a:ext>
              </a:extLst>
            </p:cNvPr>
            <p:cNvSpPr/>
            <p:nvPr/>
          </p:nvSpPr>
          <p:spPr>
            <a:xfrm>
              <a:off x="-1008664" y="3512838"/>
              <a:ext cx="29631" cy="29092"/>
            </a:xfrm>
            <a:custGeom>
              <a:avLst/>
              <a:gdLst>
                <a:gd name="connsiteX0" fmla="*/ 21371 w 29631"/>
                <a:gd name="connsiteY0" fmla="*/ 29093 h 29092"/>
                <a:gd name="connsiteX1" fmla="*/ 0 w 29631"/>
                <a:gd name="connsiteY1" fmla="*/ 16701 h 29092"/>
                <a:gd name="connsiteX2" fmla="*/ 12391 w 29631"/>
                <a:gd name="connsiteY2" fmla="*/ 0 h 29092"/>
                <a:gd name="connsiteX3" fmla="*/ 21371 w 29631"/>
                <a:gd name="connsiteY3" fmla="*/ 4310 h 29092"/>
                <a:gd name="connsiteX4" fmla="*/ 29632 w 29631"/>
                <a:gd name="connsiteY4" fmla="*/ 9877 h 29092"/>
                <a:gd name="connsiteX5" fmla="*/ 21371 w 29631"/>
                <a:gd name="connsiteY5" fmla="*/ 29093 h 2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31" h="29092">
                  <a:moveTo>
                    <a:pt x="21371" y="29093"/>
                  </a:moveTo>
                  <a:lnTo>
                    <a:pt x="0" y="16701"/>
                  </a:lnTo>
                  <a:lnTo>
                    <a:pt x="12391" y="0"/>
                  </a:lnTo>
                  <a:cubicBezTo>
                    <a:pt x="15444" y="1257"/>
                    <a:pt x="18497" y="2694"/>
                    <a:pt x="21371" y="4310"/>
                  </a:cubicBezTo>
                  <a:cubicBezTo>
                    <a:pt x="24244" y="5926"/>
                    <a:pt x="27117" y="7902"/>
                    <a:pt x="29632" y="9877"/>
                  </a:cubicBezTo>
                  <a:lnTo>
                    <a:pt x="21371" y="29093"/>
                  </a:lnTo>
                  <a:close/>
                </a:path>
              </a:pathLst>
            </a:custGeom>
            <a:solidFill>
              <a:srgbClr val="8674B3"/>
            </a:solidFill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/>
              <a:endParaRPr lang="en-US"/>
            </a:p>
          </p:txBody>
        </p:sp>
      </p:grpSp>
      <p:graphicFrame>
        <p:nvGraphicFramePr>
          <p:cNvPr id="337" name="Object 336" hidden="1">
            <a:extLst>
              <a:ext uri="{FF2B5EF4-FFF2-40B4-BE49-F238E27FC236}">
                <a16:creationId xmlns:a16="http://schemas.microsoft.com/office/drawing/2014/main" id="{5D110BAF-3082-4216-BDAE-6585E0D90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37" name="Object 336" hidden="1">
                        <a:extLst>
                          <a:ext uri="{FF2B5EF4-FFF2-40B4-BE49-F238E27FC236}">
                            <a16:creationId xmlns:a16="http://schemas.microsoft.com/office/drawing/2014/main" id="{5D110BAF-3082-4216-BDAE-6585E0D90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B75F48F-1EBA-9B51-1F18-9DF827DE0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92" y="100882"/>
            <a:ext cx="7704856" cy="337362"/>
          </a:xfrm>
        </p:spPr>
        <p:txBody>
          <a:bodyPr/>
          <a:lstStyle/>
          <a:p>
            <a:r>
              <a:rPr lang="fr-FR">
                <a:latin typeface="Arial Black"/>
                <a:cs typeface="Arial"/>
              </a:rPr>
              <a:t>OSA (Open Source </a:t>
            </a:r>
            <a:r>
              <a:rPr lang="fr-FR" err="1">
                <a:latin typeface="Arial Black"/>
                <a:cs typeface="Arial"/>
              </a:rPr>
              <a:t>Authority</a:t>
            </a:r>
            <a:r>
              <a:rPr lang="fr-FR">
                <a:latin typeface="Arial Black"/>
                <a:cs typeface="Arial"/>
              </a:rPr>
              <a:t>)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D2F5CBB-B522-CCD3-F40E-37B7A2361679}"/>
              </a:ext>
            </a:extLst>
          </p:cNvPr>
          <p:cNvSpPr txBox="1">
            <a:spLocks/>
          </p:cNvSpPr>
          <p:nvPr/>
        </p:nvSpPr>
        <p:spPr>
          <a:xfrm>
            <a:off x="895000" y="432007"/>
            <a:ext cx="7908975" cy="460560"/>
          </a:xfrm>
        </p:spPr>
        <p:txBody>
          <a:bodyPr lIns="91440" tIns="45720" rIns="91440" bIns="45720"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78"/>
            <a:r>
              <a:rPr lang="fr-FR" sz="1100">
                <a:solidFill>
                  <a:srgbClr val="A9468F"/>
                </a:solidFill>
                <a:latin typeface="Segoe UI"/>
                <a:cs typeface="Segoe UI"/>
              </a:rPr>
              <a:t>👉 IT &amp; Procurement coordination and steering body, co-sponsored by TE&amp;S &amp; CIO Office, responsible for embodying, structuring, capitalizing on, and governing Open Source across the Group, in alignment with the Group governance</a:t>
            </a:r>
            <a:endParaRPr lang="fr-FR" sz="1100" b="1">
              <a:solidFill>
                <a:srgbClr val="A9468F"/>
              </a:solidFill>
              <a:latin typeface="Segoe UI"/>
              <a:cs typeface="Segoe UI"/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B534313D-7099-46C7-4C6C-6DDDA33B1985}"/>
              </a:ext>
            </a:extLst>
          </p:cNvPr>
          <p:cNvSpPr txBox="1"/>
          <p:nvPr/>
        </p:nvSpPr>
        <p:spPr>
          <a:xfrm>
            <a:off x="1817646" y="972783"/>
            <a:ext cx="7201802" cy="1923604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Overall missions:</a:t>
            </a:r>
          </a:p>
          <a:p>
            <a:pPr lvl="1" defTabSz="914378"/>
            <a:endParaRPr lang="fr-FR" sz="1000" b="1">
              <a:solidFill>
                <a:schemeClr val="accent4"/>
              </a:solidFill>
            </a:endParaRP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Share the Group’s overall Open Source roadmap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Decide on studying the integration of new Open Source components with a support model, in coordination with the existing architecture committees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Track ongoing studies and our Open Source projects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Control the risks and compliance of our components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Share new studies and opportunities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Identify potential synergies between projects or needs and with external parties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Coordinate our internal vision with the external ecosystem (TOSIT, EuroCommons, etc.)</a:t>
            </a:r>
          </a:p>
          <a:p>
            <a:pPr lvl="1" defTabSz="914378"/>
            <a:r>
              <a:rPr lang="fr-FR" sz="1000" b="1">
                <a:solidFill>
                  <a:schemeClr val="accent4"/>
                </a:solidFill>
              </a:rPr>
              <a:t>Ensure compliance with recommendations / best practices (inner source, contribution back, contributing)</a:t>
            </a:r>
          </a:p>
          <a:p>
            <a:pPr marL="447675" lvl="2" indent="182245">
              <a:buFont typeface="Arial" panose="020B0604020202020204" pitchFamily="34" charset="0"/>
              <a:buChar char="•"/>
            </a:pPr>
            <a:endParaRPr lang="fr-FR" sz="1050">
              <a:cs typeface="Arial"/>
            </a:endParaRPr>
          </a:p>
        </p:txBody>
      </p:sp>
      <p:sp>
        <p:nvSpPr>
          <p:cNvPr id="3" name="ZoneTexte 204">
            <a:extLst>
              <a:ext uri="{FF2B5EF4-FFF2-40B4-BE49-F238E27FC236}">
                <a16:creationId xmlns:a16="http://schemas.microsoft.com/office/drawing/2014/main" id="{EF6CF73C-F3F2-7626-85F8-E43389241436}"/>
              </a:ext>
            </a:extLst>
          </p:cNvPr>
          <p:cNvSpPr txBox="1"/>
          <p:nvPr/>
        </p:nvSpPr>
        <p:spPr>
          <a:xfrm>
            <a:off x="1818094" y="2955159"/>
            <a:ext cx="253407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fr-FR" sz="1050" b="1">
                <a:solidFill>
                  <a:srgbClr val="57267C"/>
                </a:solidFill>
              </a:rPr>
              <a:t>Participants:</a:t>
            </a:r>
          </a:p>
          <a:p>
            <a:pPr lvl="1"/>
            <a:endParaRPr lang="fr-FR" sz="1050" b="1">
              <a:solidFill>
                <a:srgbClr val="57267C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E32E26-DF07-8367-FB9F-BB7E46623022}"/>
              </a:ext>
            </a:extLst>
          </p:cNvPr>
          <p:cNvSpPr txBox="1"/>
          <p:nvPr/>
        </p:nvSpPr>
        <p:spPr>
          <a:xfrm>
            <a:off x="119253" y="3358618"/>
            <a:ext cx="1786920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fr-FR" sz="1050" b="1" dirty="0" err="1"/>
              <a:t>Proposed</a:t>
            </a:r>
            <a:r>
              <a:rPr lang="fr-FR" sz="1050" b="1" dirty="0"/>
              <a:t> </a:t>
            </a:r>
            <a:r>
              <a:rPr lang="fr-FR" sz="1050" b="1" dirty="0" err="1"/>
              <a:t>frequency</a:t>
            </a:r>
            <a:r>
              <a:rPr lang="fr-FR" sz="1050" b="1" dirty="0"/>
              <a:t>: </a:t>
            </a:r>
            <a:r>
              <a:rPr lang="fr-FR" sz="1050" b="1" dirty="0" err="1"/>
              <a:t>monthly</a:t>
            </a:r>
            <a:r>
              <a:rPr lang="fr-FR" sz="1050" b="1" dirty="0"/>
              <a:t>, to </a:t>
            </a:r>
            <a:r>
              <a:rPr lang="fr-FR" sz="1050" b="1" dirty="0" err="1"/>
              <a:t>be</a:t>
            </a:r>
            <a:r>
              <a:rPr lang="fr-FR" sz="1050" b="1" dirty="0"/>
              <a:t> </a:t>
            </a:r>
            <a:r>
              <a:rPr lang="fr-FR" sz="1050" b="1" dirty="0" err="1"/>
              <a:t>validated</a:t>
            </a:r>
            <a:r>
              <a:rPr lang="fr-FR" sz="1050" b="1" dirty="0"/>
              <a:t> by the </a:t>
            </a:r>
            <a:r>
              <a:rPr lang="fr-FR" sz="1050" b="1" dirty="0" err="1"/>
              <a:t>Executive</a:t>
            </a:r>
            <a:r>
              <a:rPr lang="fr-FR" sz="1050" b="1" dirty="0"/>
              <a:t> </a:t>
            </a:r>
            <a:r>
              <a:rPr lang="fr-FR" sz="1050" b="1" dirty="0" err="1"/>
              <a:t>Committee</a:t>
            </a:r>
            <a:endParaRPr lang="fr-FR" sz="1050" b="1" dirty="0"/>
          </a:p>
          <a:p>
            <a:pPr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83671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3742747" y="702859"/>
            <a:ext cx="5096067" cy="540883"/>
          </a:xfrm>
        </p:spPr>
        <p:txBody>
          <a:bodyPr vert="horz" lIns="0" tIns="0" rIns="0" bIns="0" rtlCol="0" anchor="ctr" anchorCtr="0">
            <a:normAutofit/>
          </a:bodyPr>
          <a:lstStyle/>
          <a:p>
            <a:pPr defTabSz="685800">
              <a:spcBef>
                <a:spcPts val="300"/>
              </a:spcBef>
              <a:buClr>
                <a:srgbClr val="B24388"/>
              </a:buClr>
              <a:defRPr/>
            </a:pPr>
            <a:r>
              <a:rPr lang="en-US">
                <a:solidFill>
                  <a:schemeClr val="accent1"/>
                </a:solidFill>
                <a:latin typeface="Montserrat"/>
                <a:cs typeface="Arial"/>
              </a:rPr>
              <a:t>Our context &amp; the Open Source market 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742747" y="1459117"/>
            <a:ext cx="4836901" cy="540883"/>
          </a:xfrm>
        </p:spPr>
        <p:txBody>
          <a:bodyPr/>
          <a:lstStyle/>
          <a:p>
            <a:r>
              <a:rPr lang="fr-FR">
                <a:solidFill>
                  <a:schemeClr val="accent1"/>
                </a:solidFill>
                <a:latin typeface="Montserrat"/>
                <a:cs typeface="Arial"/>
              </a:rPr>
              <a:t>Open Source for the Group</a:t>
            </a:r>
            <a:endParaRPr lang="fr-FR" b="1">
              <a:solidFill>
                <a:schemeClr val="accent1"/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3736389" y="2227661"/>
            <a:ext cx="4843259" cy="540883"/>
          </a:xfrm>
        </p:spPr>
        <p:txBody>
          <a:bodyPr/>
          <a:lstStyle/>
          <a:p>
            <a:r>
              <a:rPr lang="fr-FR">
                <a:solidFill>
                  <a:schemeClr val="accent1"/>
                </a:solidFill>
                <a:latin typeface="Montserrat"/>
                <a:cs typeface="Arial"/>
              </a:rPr>
              <a:t>The missions of the Open Source team 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3047549" y="718739"/>
            <a:ext cx="509122" cy="509122"/>
          </a:xfrm>
        </p:spPr>
        <p:txBody>
          <a:bodyPr/>
          <a:lstStyle/>
          <a:p>
            <a:r>
              <a:rPr lang="fr-FR"/>
              <a:t>01	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3056592" y="1474997"/>
            <a:ext cx="509122" cy="509122"/>
          </a:xfrm>
        </p:spPr>
        <p:txBody>
          <a:bodyPr/>
          <a:lstStyle/>
          <a:p>
            <a:r>
              <a:rPr lang="fr-FR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0"/>
          </p:nvPr>
        </p:nvSpPr>
        <p:spPr>
          <a:xfrm>
            <a:off x="3041190" y="2254002"/>
            <a:ext cx="509122" cy="509122"/>
          </a:xfrm>
        </p:spPr>
        <p:txBody>
          <a:bodyPr/>
          <a:lstStyle/>
          <a:p>
            <a:r>
              <a:rPr lang="fr-FR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0" name="Titre 39">
            <a:extLst>
              <a:ext uri="{FF2B5EF4-FFF2-40B4-BE49-F238E27FC236}">
                <a16:creationId xmlns:a16="http://schemas.microsoft.com/office/drawing/2014/main" id="{C9A7CD80-8648-C494-6A9A-C3848E747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169876"/>
            <a:ext cx="2308999" cy="432000"/>
          </a:xfrm>
        </p:spPr>
        <p:txBody>
          <a:bodyPr/>
          <a:lstStyle/>
          <a:p>
            <a:r>
              <a:rPr lang="en-US"/>
              <a:t>contents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6E93CAF4-9558-6151-301E-ADC9537B98B7}"/>
              </a:ext>
            </a:extLst>
          </p:cNvPr>
          <p:cNvCxnSpPr>
            <a:cxnSpLocks/>
          </p:cNvCxnSpPr>
          <p:nvPr/>
        </p:nvCxnSpPr>
        <p:spPr>
          <a:xfrm>
            <a:off x="3634813" y="845565"/>
            <a:ext cx="0" cy="2438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010DEE30-20DE-C96E-AED5-B3CAE5234E8F}"/>
              </a:ext>
            </a:extLst>
          </p:cNvPr>
          <p:cNvCxnSpPr>
            <a:cxnSpLocks/>
          </p:cNvCxnSpPr>
          <p:nvPr/>
        </p:nvCxnSpPr>
        <p:spPr>
          <a:xfrm>
            <a:off x="3634812" y="1607618"/>
            <a:ext cx="0" cy="2438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686FF2A-78D4-160D-9B6B-7064DA7EB99A}"/>
              </a:ext>
            </a:extLst>
          </p:cNvPr>
          <p:cNvCxnSpPr>
            <a:cxnSpLocks/>
          </p:cNvCxnSpPr>
          <p:nvPr/>
        </p:nvCxnSpPr>
        <p:spPr>
          <a:xfrm>
            <a:off x="3647491" y="2360314"/>
            <a:ext cx="0" cy="301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id="{338AFBA5-2D9A-A352-8B68-DC2221EB9025}"/>
              </a:ext>
            </a:extLst>
          </p:cNvPr>
          <p:cNvSpPr txBox="1">
            <a:spLocks/>
          </p:cNvSpPr>
          <p:nvPr/>
        </p:nvSpPr>
        <p:spPr>
          <a:xfrm>
            <a:off x="3726763" y="2946223"/>
            <a:ext cx="5096072" cy="54088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marR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Cambria Math" panose="02040503050406030204" pitchFamily="18" charset="0"/>
              <a:buNone/>
              <a:tabLst/>
              <a:defRPr lang="fr-FR" sz="1400" b="0" i="0" u="none" strike="noStrike" kern="1200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  <a:lvl2pPr marL="18097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79438" indent="-222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chemeClr val="accent1"/>
                </a:solidFill>
                <a:latin typeface="Montserrat"/>
                <a:cs typeface="Arial"/>
              </a:rPr>
              <a:t>Internal governance of Open Source</a:t>
            </a:r>
            <a:endParaRPr lang="fr-FR" b="1">
              <a:solidFill>
                <a:schemeClr val="accent1"/>
              </a:solidFill>
              <a:latin typeface="Montserrat"/>
              <a:cs typeface="Arial"/>
            </a:endParaRPr>
          </a:p>
        </p:txBody>
      </p:sp>
      <p:sp>
        <p:nvSpPr>
          <p:cNvPr id="23" name="Espace réservé du texte 12">
            <a:extLst>
              <a:ext uri="{FF2B5EF4-FFF2-40B4-BE49-F238E27FC236}">
                <a16:creationId xmlns:a16="http://schemas.microsoft.com/office/drawing/2014/main" id="{E8901727-3A8B-DF23-FDE6-6E360CA3C676}"/>
              </a:ext>
            </a:extLst>
          </p:cNvPr>
          <p:cNvSpPr txBox="1">
            <a:spLocks/>
          </p:cNvSpPr>
          <p:nvPr/>
        </p:nvSpPr>
        <p:spPr>
          <a:xfrm>
            <a:off x="3041190" y="2962103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72000" tIns="0" rIns="72000" bIns="0" rtlCol="0" anchor="ctr" anchorCtr="0">
            <a:noAutofit/>
          </a:bodyPr>
          <a:lstStyle>
            <a:lvl1pPr marL="0" marR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Cambria Math" panose="02040503050406030204" pitchFamily="18" charset="0"/>
              <a:buNone/>
              <a:tabLst/>
              <a:defRPr lang="fr-FR" sz="2800" b="1" i="0" u="none" strike="noStrike" kern="1200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chemeClr val="accent1"/>
                </a:solidFill>
              </a:rPr>
              <a:t>04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D058BD5C-47EC-D7D1-8E08-1F1689665A9C}"/>
              </a:ext>
            </a:extLst>
          </p:cNvPr>
          <p:cNvCxnSpPr>
            <a:cxnSpLocks/>
          </p:cNvCxnSpPr>
          <p:nvPr/>
        </p:nvCxnSpPr>
        <p:spPr>
          <a:xfrm>
            <a:off x="3649414" y="3094724"/>
            <a:ext cx="0" cy="2438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44CAFA10-1199-A626-7210-C8806B03E767}"/>
              </a:ext>
            </a:extLst>
          </p:cNvPr>
          <p:cNvCxnSpPr>
            <a:cxnSpLocks/>
          </p:cNvCxnSpPr>
          <p:nvPr/>
        </p:nvCxnSpPr>
        <p:spPr>
          <a:xfrm>
            <a:off x="3652113" y="3822556"/>
            <a:ext cx="0" cy="2438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Espace réservé du texte 6">
            <a:extLst>
              <a:ext uri="{FF2B5EF4-FFF2-40B4-BE49-F238E27FC236}">
                <a16:creationId xmlns:a16="http://schemas.microsoft.com/office/drawing/2014/main" id="{E5B2887F-47D6-5848-C23D-6B032BD74344}"/>
              </a:ext>
            </a:extLst>
          </p:cNvPr>
          <p:cNvSpPr txBox="1">
            <a:spLocks/>
          </p:cNvSpPr>
          <p:nvPr/>
        </p:nvSpPr>
        <p:spPr>
          <a:xfrm>
            <a:off x="3729462" y="3662660"/>
            <a:ext cx="4857123" cy="54088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marR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Cambria Math" panose="02040503050406030204" pitchFamily="18" charset="0"/>
              <a:buNone/>
              <a:tabLst/>
              <a:defRPr lang="fr-FR" sz="1400" b="0" i="0" u="none" strike="noStrike" kern="1200" cap="none" dirty="0" smtClean="0">
                <a:solidFill>
                  <a:srgbClr val="000000"/>
                </a:solidFill>
                <a:latin typeface="Montserrat" pitchFamily="2" charset="77"/>
                <a:ea typeface="Montserrat" pitchFamily="2" charset="77"/>
                <a:cs typeface="Arial" panose="020B0604020202020204" pitchFamily="34" charset="0"/>
                <a:sym typeface="Arial"/>
              </a:defRPr>
            </a:lvl1pPr>
            <a:lvl2pPr marL="18097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79438" indent="-222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chemeClr val="accent1"/>
                </a:solidFill>
                <a:latin typeface="Montserrat"/>
                <a:cs typeface="Arial"/>
              </a:rPr>
              <a:t>Appendices </a:t>
            </a:r>
            <a:endParaRPr lang="fr-FR" b="1">
              <a:solidFill>
                <a:schemeClr val="accent1"/>
              </a:solidFill>
              <a:latin typeface="Montserrat"/>
              <a:cs typeface="Arial"/>
            </a:endParaRPr>
          </a:p>
        </p:txBody>
      </p:sp>
      <p:sp>
        <p:nvSpPr>
          <p:cNvPr id="41" name="Espace réservé du texte 12">
            <a:extLst>
              <a:ext uri="{FF2B5EF4-FFF2-40B4-BE49-F238E27FC236}">
                <a16:creationId xmlns:a16="http://schemas.microsoft.com/office/drawing/2014/main" id="{D92AE25F-3E83-5977-BD0F-58559321BEB7}"/>
              </a:ext>
            </a:extLst>
          </p:cNvPr>
          <p:cNvSpPr txBox="1">
            <a:spLocks/>
          </p:cNvSpPr>
          <p:nvPr/>
        </p:nvSpPr>
        <p:spPr>
          <a:xfrm>
            <a:off x="3041190" y="3668316"/>
            <a:ext cx="509122" cy="509122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72000" tIns="0" rIns="72000" bIns="0" rtlCol="0" anchor="ctr" anchorCtr="0">
            <a:noAutofit/>
          </a:bodyPr>
          <a:lstStyle>
            <a:lvl1pPr marL="0" marR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Cambria Math" panose="02040503050406030204" pitchFamily="18" charset="0"/>
              <a:buNone/>
              <a:tabLst/>
              <a:defRPr lang="fr-FR" sz="2800" b="1" i="0" u="none" strike="noStrike" kern="1200" cap="none" dirty="0">
                <a:solidFill>
                  <a:schemeClr val="accent6"/>
                </a:solidFill>
                <a:latin typeface="Montserrat ExtraBold" pitchFamily="2" charset="77"/>
                <a:ea typeface="Montserrat ExtraBold" pitchFamily="2" charset="77"/>
                <a:cs typeface="Arial" panose="020B0604020202020204" pitchFamily="34" charset="0"/>
                <a:sym typeface="Arial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None/>
              <a:tabLst/>
              <a:defRPr sz="12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chemeClr val="accent1"/>
                </a:solidFill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1419024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9E0F6-3817-826C-8CC7-E3B78424C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 descr="Une image contenant plein air, nuage, ciel, Tour de grande hauteur&#10;&#10;Description générée automatiquement">
            <a:extLst>
              <a:ext uri="{FF2B5EF4-FFF2-40B4-BE49-F238E27FC236}">
                <a16:creationId xmlns:a16="http://schemas.microsoft.com/office/drawing/2014/main" id="{D801BEA8-E63C-A77E-79F6-ED01521D103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848" r="6270"/>
          <a:stretch/>
        </p:blipFill>
        <p:spPr>
          <a:xfrm>
            <a:off x="142944" y="0"/>
            <a:ext cx="3276929" cy="5164138"/>
          </a:xfrm>
        </p:spPr>
      </p:pic>
      <p:grpSp>
        <p:nvGrpSpPr>
          <p:cNvPr id="31" name="Groupe 30">
            <a:extLst>
              <a:ext uri="{FF2B5EF4-FFF2-40B4-BE49-F238E27FC236}">
                <a16:creationId xmlns:a16="http://schemas.microsoft.com/office/drawing/2014/main" id="{2473CDFA-7BD6-6144-12DE-CE71278FA762}"/>
              </a:ext>
            </a:extLst>
          </p:cNvPr>
          <p:cNvGrpSpPr/>
          <p:nvPr/>
        </p:nvGrpSpPr>
        <p:grpSpPr>
          <a:xfrm>
            <a:off x="2609498" y="1726453"/>
            <a:ext cx="1980318" cy="1690595"/>
            <a:chOff x="2303748" y="1726453"/>
            <a:chExt cx="1980318" cy="169059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0BBC5BC-CA19-0558-73EB-1032C68989BA}"/>
                </a:ext>
              </a:extLst>
            </p:cNvPr>
            <p:cNvSpPr/>
            <p:nvPr/>
          </p:nvSpPr>
          <p:spPr>
            <a:xfrm>
              <a:off x="2303748" y="1726453"/>
              <a:ext cx="1908212" cy="1690595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4A00705-163F-F025-A217-D77795D4415D}"/>
                </a:ext>
              </a:extLst>
            </p:cNvPr>
            <p:cNvSpPr/>
            <p:nvPr/>
          </p:nvSpPr>
          <p:spPr>
            <a:xfrm>
              <a:off x="2396028" y="1822485"/>
              <a:ext cx="1888038" cy="1498531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B0613D3-6989-AEA7-F384-086A8526D7CB}"/>
                </a:ext>
              </a:extLst>
            </p:cNvPr>
            <p:cNvSpPr/>
            <p:nvPr/>
          </p:nvSpPr>
          <p:spPr>
            <a:xfrm>
              <a:off x="2492060" y="1918515"/>
              <a:ext cx="1719900" cy="13064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4B59AFBF-CB56-48C3-6E22-44817F6E28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>
                <a:solidFill>
                  <a:schemeClr val="accent1"/>
                </a:solidFill>
                <a:latin typeface="Montserrat ExtraBold"/>
              </a:rPr>
              <a:t>OUR CONTEXT &amp; OPEN SOURCE</a:t>
            </a:r>
            <a:r>
              <a:rPr lang="en-US" sz="1400">
                <a:solidFill>
                  <a:srgbClr val="000000"/>
                </a:solidFill>
                <a:latin typeface="Montserrat ExtraBold"/>
              </a:rPr>
              <a:t> </a:t>
            </a:r>
            <a:endParaRPr lang="fr-FR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449BC3D-D14F-FF56-48FE-0B54FA6B56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accent4"/>
                </a:solidFill>
              </a:rPr>
              <a:t>01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80E68B27-3677-E79A-1AA6-C4E7753B29DB}"/>
              </a:ext>
            </a:extLst>
          </p:cNvPr>
          <p:cNvCxnSpPr>
            <a:cxnSpLocks/>
          </p:cNvCxnSpPr>
          <p:nvPr/>
        </p:nvCxnSpPr>
        <p:spPr>
          <a:xfrm>
            <a:off x="3851920" y="2322000"/>
            <a:ext cx="0" cy="432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183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8E97C-D32A-03AD-FD9E-CBEBD92A2E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0EE8CF-3092-0312-9FF1-FE3AC4F5C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4" imgH="486" progId="TCLayout.ActiveDocument.1">
                  <p:embed/>
                </p:oleObj>
              </mc:Choice>
              <mc:Fallback>
                <p:oleObj name="think-cell Slide" r:id="rId8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EE8CF-3092-0312-9FF1-FE3AC4F5C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Rectangle 108">
            <a:extLst>
              <a:ext uri="{FF2B5EF4-FFF2-40B4-BE49-F238E27FC236}">
                <a16:creationId xmlns:a16="http://schemas.microsoft.com/office/drawing/2014/main" id="{A2C7EF95-E5EE-32EA-7917-240FFE2DFE65}"/>
              </a:ext>
            </a:extLst>
          </p:cNvPr>
          <p:cNvSpPr/>
          <p:nvPr/>
        </p:nvSpPr>
        <p:spPr>
          <a:xfrm rot="10800000">
            <a:off x="0" y="1142478"/>
            <a:ext cx="9144000" cy="303256"/>
          </a:xfrm>
          <a:prstGeom prst="rect">
            <a:avLst/>
          </a:prstGeom>
          <a:gradFill flip="none" rotWithShape="1">
            <a:gsLst>
              <a:gs pos="23760">
                <a:srgbClr val="F2976E"/>
              </a:gs>
              <a:gs pos="0">
                <a:srgbClr val="F2976E"/>
              </a:gs>
              <a:gs pos="54000">
                <a:schemeClr val="tx2"/>
              </a:gs>
              <a:gs pos="100000">
                <a:schemeClr val="tx2"/>
              </a:gs>
            </a:gsLst>
            <a:lin ang="108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900" err="1">
              <a:solidFill>
                <a:srgbClr val="FFFF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2A4891-69E4-BBD7-339F-4CC930000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186495"/>
            <a:ext cx="8330047" cy="345268"/>
          </a:xfrm>
        </p:spPr>
        <p:txBody>
          <a:bodyPr vert="horz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>
                <a:latin typeface="Montserrat" panose="00000500000000000000" pitchFamily="2" charset="0"/>
              </a:rPr>
              <a:t>BPCE challenge: finding the right balance between functionality / innovation capacity and the need for strategic autonomy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59629D1B-F82E-4579-AC45-003B53D606B4}"/>
              </a:ext>
            </a:extLst>
          </p:cNvPr>
          <p:cNvGrpSpPr/>
          <p:nvPr/>
        </p:nvGrpSpPr>
        <p:grpSpPr>
          <a:xfrm>
            <a:off x="5225174" y="856213"/>
            <a:ext cx="3397829" cy="3161501"/>
            <a:chOff x="769345" y="1512014"/>
            <a:chExt cx="4530438" cy="4215334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49C4137-0DB7-03A4-6CA9-CBB2F3DA5393}"/>
                </a:ext>
              </a:extLst>
            </p:cNvPr>
            <p:cNvSpPr txBox="1"/>
            <p:nvPr/>
          </p:nvSpPr>
          <p:spPr>
            <a:xfrm>
              <a:off x="1239018" y="2581882"/>
              <a:ext cx="3591092" cy="73866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81D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050" b="1">
                  <a:solidFill>
                    <a:srgbClr val="581D74"/>
                  </a:solidFill>
                  <a:latin typeface="Montserrat" panose="00000500000000000000" pitchFamily="2" charset="0"/>
                </a:rPr>
                <a:t>...while keeping risk under control on issues related to strategic autonomy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778647F-9351-504F-500F-CB13AB666BB6}"/>
                </a:ext>
              </a:extLst>
            </p:cNvPr>
            <p:cNvGrpSpPr/>
            <p:nvPr/>
          </p:nvGrpSpPr>
          <p:grpSpPr>
            <a:xfrm>
              <a:off x="2494814" y="1512014"/>
              <a:ext cx="1079500" cy="1080500"/>
              <a:chOff x="4933236" y="2265159"/>
              <a:chExt cx="2325527" cy="2327682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61FF979-230A-24C9-3308-FDCD8B21777E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4933236" y="2265159"/>
                <a:ext cx="2325527" cy="2327682"/>
              </a:xfrm>
              <a:prstGeom prst="ellipse">
                <a:avLst/>
              </a:prstGeom>
              <a:solidFill>
                <a:srgbClr val="FFFFFF"/>
              </a:solidFill>
              <a:ln w="3810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lumMod val="50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68580" rIns="68580" bIns="68580" rtlCol="0" anchor="ctr"/>
              <a:lstStyle>
                <a:defPPr>
                  <a:defRPr lang="en-US"/>
                </a:defPPr>
                <a:lvl1pPr marL="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9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783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675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566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457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348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4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13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5000"/>
                  </a:lnSpc>
                </a:pPr>
                <a:endParaRPr lang="fr-FR" sz="1200" kern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1" name="bcgIcons_Bank ">
                <a:extLst>
                  <a:ext uri="{FF2B5EF4-FFF2-40B4-BE49-F238E27FC236}">
                    <a16:creationId xmlns:a16="http://schemas.microsoft.com/office/drawing/2014/main" id="{372EF2BB-D97A-759E-89F3-F700D9D5FAE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273802" y="2606040"/>
                <a:ext cx="1644396" cy="1645920"/>
                <a:chOff x="5273799" y="2606040"/>
                <a:chExt cx="1644396" cy="1645920"/>
              </a:xfrm>
            </p:grpSpPr>
            <p:sp>
              <p:nvSpPr>
                <p:cNvPr id="72" name="AutoShape 3">
                  <a:extLst>
                    <a:ext uri="{FF2B5EF4-FFF2-40B4-BE49-F238E27FC236}">
                      <a16:creationId xmlns:a16="http://schemas.microsoft.com/office/drawing/2014/main" id="{085707C6-8225-9518-3A2E-1B75113D8EFB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799" y="2606040"/>
                  <a:ext cx="1644396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92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783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675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566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457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348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240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132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013"/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726EB570-F65C-4212-87D5-70819C18EC5B}"/>
                    </a:ext>
                  </a:extLst>
                </p:cNvPr>
                <p:cNvGrpSpPr/>
                <p:nvPr/>
              </p:nvGrpSpPr>
              <p:grpSpPr>
                <a:xfrm>
                  <a:off x="5442201" y="2765298"/>
                  <a:ext cx="1306068" cy="1315974"/>
                  <a:chOff x="5442201" y="2765298"/>
                  <a:chExt cx="1306068" cy="1315974"/>
                </a:xfrm>
              </p:grpSpPr>
              <p:sp>
                <p:nvSpPr>
                  <p:cNvPr id="74" name="Freeform 5">
                    <a:extLst>
                      <a:ext uri="{FF2B5EF4-FFF2-40B4-BE49-F238E27FC236}">
                        <a16:creationId xmlns:a16="http://schemas.microsoft.com/office/drawing/2014/main" id="{0BBC76AE-2CFB-B59A-2488-935BF46AD9E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442201" y="2765298"/>
                    <a:ext cx="1306068" cy="1315974"/>
                  </a:xfrm>
                  <a:custGeom>
                    <a:avLst/>
                    <a:gdLst>
                      <a:gd name="T0" fmla="*/ 1807 w 1830"/>
                      <a:gd name="T1" fmla="*/ 1666 h 1842"/>
                      <a:gd name="T2" fmla="*/ 1708 w 1830"/>
                      <a:gd name="T3" fmla="*/ 1666 h 1842"/>
                      <a:gd name="T4" fmla="*/ 1708 w 1830"/>
                      <a:gd name="T5" fmla="*/ 1616 h 1842"/>
                      <a:gd name="T6" fmla="*/ 1686 w 1830"/>
                      <a:gd name="T7" fmla="*/ 1594 h 1842"/>
                      <a:gd name="T8" fmla="*/ 144 w 1830"/>
                      <a:gd name="T9" fmla="*/ 1594 h 1842"/>
                      <a:gd name="T10" fmla="*/ 122 w 1830"/>
                      <a:gd name="T11" fmla="*/ 1616 h 1842"/>
                      <a:gd name="T12" fmla="*/ 122 w 1830"/>
                      <a:gd name="T13" fmla="*/ 1666 h 1842"/>
                      <a:gd name="T14" fmla="*/ 23 w 1830"/>
                      <a:gd name="T15" fmla="*/ 1666 h 1842"/>
                      <a:gd name="T16" fmla="*/ 1 w 1830"/>
                      <a:gd name="T17" fmla="*/ 1688 h 1842"/>
                      <a:gd name="T18" fmla="*/ 1 w 1830"/>
                      <a:gd name="T19" fmla="*/ 1820 h 1842"/>
                      <a:gd name="T20" fmla="*/ 23 w 1830"/>
                      <a:gd name="T21" fmla="*/ 1842 h 1842"/>
                      <a:gd name="T22" fmla="*/ 1807 w 1830"/>
                      <a:gd name="T23" fmla="*/ 1842 h 1842"/>
                      <a:gd name="T24" fmla="*/ 1829 w 1830"/>
                      <a:gd name="T25" fmla="*/ 1820 h 1842"/>
                      <a:gd name="T26" fmla="*/ 1829 w 1830"/>
                      <a:gd name="T27" fmla="*/ 1688 h 1842"/>
                      <a:gd name="T28" fmla="*/ 1807 w 1830"/>
                      <a:gd name="T29" fmla="*/ 1666 h 1842"/>
                      <a:gd name="T30" fmla="*/ 1818 w 1830"/>
                      <a:gd name="T31" fmla="*/ 441 h 1842"/>
                      <a:gd name="T32" fmla="*/ 925 w 1830"/>
                      <a:gd name="T33" fmla="*/ 3 h 1842"/>
                      <a:gd name="T34" fmla="*/ 905 w 1830"/>
                      <a:gd name="T35" fmla="*/ 3 h 1842"/>
                      <a:gd name="T36" fmla="*/ 12 w 1830"/>
                      <a:gd name="T37" fmla="*/ 441 h 1842"/>
                      <a:gd name="T38" fmla="*/ 0 w 1830"/>
                      <a:gd name="T39" fmla="*/ 461 h 1842"/>
                      <a:gd name="T40" fmla="*/ 0 w 1830"/>
                      <a:gd name="T41" fmla="*/ 533 h 1842"/>
                      <a:gd name="T42" fmla="*/ 22 w 1830"/>
                      <a:gd name="T43" fmla="*/ 555 h 1842"/>
                      <a:gd name="T44" fmla="*/ 169 w 1830"/>
                      <a:gd name="T45" fmla="*/ 555 h 1842"/>
                      <a:gd name="T46" fmla="*/ 169 w 1830"/>
                      <a:gd name="T47" fmla="*/ 641 h 1842"/>
                      <a:gd name="T48" fmla="*/ 191 w 1830"/>
                      <a:gd name="T49" fmla="*/ 663 h 1842"/>
                      <a:gd name="T50" fmla="*/ 1639 w 1830"/>
                      <a:gd name="T51" fmla="*/ 663 h 1842"/>
                      <a:gd name="T52" fmla="*/ 1661 w 1830"/>
                      <a:gd name="T53" fmla="*/ 641 h 1842"/>
                      <a:gd name="T54" fmla="*/ 1661 w 1830"/>
                      <a:gd name="T55" fmla="*/ 555 h 1842"/>
                      <a:gd name="T56" fmla="*/ 1808 w 1830"/>
                      <a:gd name="T57" fmla="*/ 555 h 1842"/>
                      <a:gd name="T58" fmla="*/ 1830 w 1830"/>
                      <a:gd name="T59" fmla="*/ 533 h 1842"/>
                      <a:gd name="T60" fmla="*/ 1830 w 1830"/>
                      <a:gd name="T61" fmla="*/ 461 h 1842"/>
                      <a:gd name="T62" fmla="*/ 1818 w 1830"/>
                      <a:gd name="T63" fmla="*/ 441 h 1842"/>
                      <a:gd name="T64" fmla="*/ 1617 w 1830"/>
                      <a:gd name="T65" fmla="*/ 619 h 1842"/>
                      <a:gd name="T66" fmla="*/ 213 w 1830"/>
                      <a:gd name="T67" fmla="*/ 619 h 1842"/>
                      <a:gd name="T68" fmla="*/ 213 w 1830"/>
                      <a:gd name="T69" fmla="*/ 555 h 1842"/>
                      <a:gd name="T70" fmla="*/ 1617 w 1830"/>
                      <a:gd name="T71" fmla="*/ 555 h 1842"/>
                      <a:gd name="T72" fmla="*/ 1617 w 1830"/>
                      <a:gd name="T73" fmla="*/ 619 h 1842"/>
                      <a:gd name="T74" fmla="*/ 1786 w 1830"/>
                      <a:gd name="T75" fmla="*/ 511 h 1842"/>
                      <a:gd name="T76" fmla="*/ 1661 w 1830"/>
                      <a:gd name="T77" fmla="*/ 511 h 1842"/>
                      <a:gd name="T78" fmla="*/ 1617 w 1830"/>
                      <a:gd name="T79" fmla="*/ 511 h 1842"/>
                      <a:gd name="T80" fmla="*/ 213 w 1830"/>
                      <a:gd name="T81" fmla="*/ 511 h 1842"/>
                      <a:gd name="T82" fmla="*/ 169 w 1830"/>
                      <a:gd name="T83" fmla="*/ 511 h 1842"/>
                      <a:gd name="T84" fmla="*/ 44 w 1830"/>
                      <a:gd name="T85" fmla="*/ 511 h 1842"/>
                      <a:gd name="T86" fmla="*/ 44 w 1830"/>
                      <a:gd name="T87" fmla="*/ 474 h 1842"/>
                      <a:gd name="T88" fmla="*/ 915 w 1830"/>
                      <a:gd name="T89" fmla="*/ 47 h 1842"/>
                      <a:gd name="T90" fmla="*/ 1786 w 1830"/>
                      <a:gd name="T91" fmla="*/ 474 h 1842"/>
                      <a:gd name="T92" fmla="*/ 1786 w 1830"/>
                      <a:gd name="T93" fmla="*/ 511 h 18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1830" h="1842">
                        <a:moveTo>
                          <a:pt x="1807" y="1666"/>
                        </a:moveTo>
                        <a:cubicBezTo>
                          <a:pt x="1708" y="1666"/>
                          <a:pt x="1708" y="1666"/>
                          <a:pt x="1708" y="1666"/>
                        </a:cubicBezTo>
                        <a:cubicBezTo>
                          <a:pt x="1708" y="1616"/>
                          <a:pt x="1708" y="1616"/>
                          <a:pt x="1708" y="1616"/>
                        </a:cubicBezTo>
                        <a:cubicBezTo>
                          <a:pt x="1708" y="1603"/>
                          <a:pt x="1699" y="1594"/>
                          <a:pt x="1686" y="1594"/>
                        </a:cubicBezTo>
                        <a:cubicBezTo>
                          <a:pt x="144" y="1594"/>
                          <a:pt x="144" y="1594"/>
                          <a:pt x="144" y="1594"/>
                        </a:cubicBezTo>
                        <a:cubicBezTo>
                          <a:pt x="131" y="1594"/>
                          <a:pt x="122" y="1603"/>
                          <a:pt x="122" y="1616"/>
                        </a:cubicBezTo>
                        <a:cubicBezTo>
                          <a:pt x="122" y="1666"/>
                          <a:pt x="122" y="1666"/>
                          <a:pt x="122" y="1666"/>
                        </a:cubicBezTo>
                        <a:cubicBezTo>
                          <a:pt x="23" y="1666"/>
                          <a:pt x="23" y="1666"/>
                          <a:pt x="23" y="1666"/>
                        </a:cubicBezTo>
                        <a:cubicBezTo>
                          <a:pt x="11" y="1666"/>
                          <a:pt x="1" y="1675"/>
                          <a:pt x="1" y="1688"/>
                        </a:cubicBezTo>
                        <a:cubicBezTo>
                          <a:pt x="1" y="1820"/>
                          <a:pt x="1" y="1820"/>
                          <a:pt x="1" y="1820"/>
                        </a:cubicBezTo>
                        <a:cubicBezTo>
                          <a:pt x="1" y="1832"/>
                          <a:pt x="11" y="1842"/>
                          <a:pt x="23" y="1842"/>
                        </a:cubicBezTo>
                        <a:cubicBezTo>
                          <a:pt x="1807" y="1842"/>
                          <a:pt x="1807" y="1842"/>
                          <a:pt x="1807" y="1842"/>
                        </a:cubicBezTo>
                        <a:cubicBezTo>
                          <a:pt x="1819" y="1842"/>
                          <a:pt x="1829" y="1832"/>
                          <a:pt x="1829" y="1820"/>
                        </a:cubicBezTo>
                        <a:cubicBezTo>
                          <a:pt x="1829" y="1688"/>
                          <a:pt x="1829" y="1688"/>
                          <a:pt x="1829" y="1688"/>
                        </a:cubicBezTo>
                        <a:cubicBezTo>
                          <a:pt x="1829" y="1675"/>
                          <a:pt x="1819" y="1666"/>
                          <a:pt x="1807" y="1666"/>
                        </a:cubicBezTo>
                        <a:close/>
                        <a:moveTo>
                          <a:pt x="1818" y="441"/>
                        </a:moveTo>
                        <a:cubicBezTo>
                          <a:pt x="925" y="3"/>
                          <a:pt x="925" y="3"/>
                          <a:pt x="925" y="3"/>
                        </a:cubicBezTo>
                        <a:cubicBezTo>
                          <a:pt x="919" y="0"/>
                          <a:pt x="911" y="0"/>
                          <a:pt x="905" y="3"/>
                        </a:cubicBezTo>
                        <a:cubicBezTo>
                          <a:pt x="12" y="441"/>
                          <a:pt x="12" y="441"/>
                          <a:pt x="12" y="441"/>
                        </a:cubicBezTo>
                        <a:cubicBezTo>
                          <a:pt x="5" y="445"/>
                          <a:pt x="0" y="452"/>
                          <a:pt x="0" y="461"/>
                        </a:cubicBezTo>
                        <a:cubicBezTo>
                          <a:pt x="0" y="533"/>
                          <a:pt x="0" y="533"/>
                          <a:pt x="0" y="533"/>
                        </a:cubicBezTo>
                        <a:cubicBezTo>
                          <a:pt x="0" y="545"/>
                          <a:pt x="10" y="555"/>
                          <a:pt x="22" y="555"/>
                        </a:cubicBezTo>
                        <a:cubicBezTo>
                          <a:pt x="169" y="555"/>
                          <a:pt x="169" y="555"/>
                          <a:pt x="169" y="555"/>
                        </a:cubicBezTo>
                        <a:cubicBezTo>
                          <a:pt x="169" y="641"/>
                          <a:pt x="169" y="641"/>
                          <a:pt x="169" y="641"/>
                        </a:cubicBezTo>
                        <a:cubicBezTo>
                          <a:pt x="169" y="654"/>
                          <a:pt x="179" y="663"/>
                          <a:pt x="191" y="663"/>
                        </a:cubicBezTo>
                        <a:cubicBezTo>
                          <a:pt x="1639" y="663"/>
                          <a:pt x="1639" y="663"/>
                          <a:pt x="1639" y="663"/>
                        </a:cubicBezTo>
                        <a:cubicBezTo>
                          <a:pt x="1651" y="663"/>
                          <a:pt x="1661" y="654"/>
                          <a:pt x="1661" y="641"/>
                        </a:cubicBezTo>
                        <a:cubicBezTo>
                          <a:pt x="1661" y="555"/>
                          <a:pt x="1661" y="555"/>
                          <a:pt x="1661" y="555"/>
                        </a:cubicBezTo>
                        <a:cubicBezTo>
                          <a:pt x="1808" y="555"/>
                          <a:pt x="1808" y="555"/>
                          <a:pt x="1808" y="555"/>
                        </a:cubicBezTo>
                        <a:cubicBezTo>
                          <a:pt x="1820" y="555"/>
                          <a:pt x="1830" y="545"/>
                          <a:pt x="1830" y="533"/>
                        </a:cubicBezTo>
                        <a:cubicBezTo>
                          <a:pt x="1830" y="461"/>
                          <a:pt x="1830" y="461"/>
                          <a:pt x="1830" y="461"/>
                        </a:cubicBezTo>
                        <a:cubicBezTo>
                          <a:pt x="1830" y="452"/>
                          <a:pt x="1825" y="445"/>
                          <a:pt x="1818" y="441"/>
                        </a:cubicBezTo>
                        <a:close/>
                        <a:moveTo>
                          <a:pt x="1617" y="619"/>
                        </a:moveTo>
                        <a:cubicBezTo>
                          <a:pt x="213" y="619"/>
                          <a:pt x="213" y="619"/>
                          <a:pt x="213" y="619"/>
                        </a:cubicBezTo>
                        <a:cubicBezTo>
                          <a:pt x="213" y="555"/>
                          <a:pt x="213" y="555"/>
                          <a:pt x="213" y="555"/>
                        </a:cubicBezTo>
                        <a:cubicBezTo>
                          <a:pt x="1617" y="555"/>
                          <a:pt x="1617" y="555"/>
                          <a:pt x="1617" y="555"/>
                        </a:cubicBezTo>
                        <a:lnTo>
                          <a:pt x="1617" y="619"/>
                        </a:lnTo>
                        <a:close/>
                        <a:moveTo>
                          <a:pt x="1786" y="511"/>
                        </a:moveTo>
                        <a:cubicBezTo>
                          <a:pt x="1661" y="511"/>
                          <a:pt x="1661" y="511"/>
                          <a:pt x="1661" y="511"/>
                        </a:cubicBezTo>
                        <a:cubicBezTo>
                          <a:pt x="1617" y="511"/>
                          <a:pt x="1617" y="511"/>
                          <a:pt x="1617" y="511"/>
                        </a:cubicBezTo>
                        <a:cubicBezTo>
                          <a:pt x="213" y="511"/>
                          <a:pt x="213" y="511"/>
                          <a:pt x="213" y="511"/>
                        </a:cubicBezTo>
                        <a:cubicBezTo>
                          <a:pt x="169" y="511"/>
                          <a:pt x="169" y="511"/>
                          <a:pt x="169" y="511"/>
                        </a:cubicBezTo>
                        <a:cubicBezTo>
                          <a:pt x="44" y="511"/>
                          <a:pt x="44" y="511"/>
                          <a:pt x="44" y="511"/>
                        </a:cubicBezTo>
                        <a:cubicBezTo>
                          <a:pt x="44" y="474"/>
                          <a:pt x="44" y="474"/>
                          <a:pt x="44" y="474"/>
                        </a:cubicBezTo>
                        <a:cubicBezTo>
                          <a:pt x="915" y="47"/>
                          <a:pt x="915" y="47"/>
                          <a:pt x="915" y="47"/>
                        </a:cubicBezTo>
                        <a:cubicBezTo>
                          <a:pt x="1786" y="474"/>
                          <a:pt x="1786" y="474"/>
                          <a:pt x="1786" y="474"/>
                        </a:cubicBezTo>
                        <a:lnTo>
                          <a:pt x="1786" y="511"/>
                        </a:lnTo>
                        <a:close/>
                      </a:path>
                    </a:pathLst>
                  </a:cu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89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783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675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566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457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348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24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13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1013"/>
                  </a:p>
                </p:txBody>
              </p:sp>
              <p:sp>
                <p:nvSpPr>
                  <p:cNvPr id="75" name="Freeform 6">
                    <a:extLst>
                      <a:ext uri="{FF2B5EF4-FFF2-40B4-BE49-F238E27FC236}">
                        <a16:creationId xmlns:a16="http://schemas.microsoft.com/office/drawing/2014/main" id="{5470651B-D5ED-9C24-F8ED-FD22386F372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613651" y="2902458"/>
                    <a:ext cx="963549" cy="958596"/>
                  </a:xfrm>
                  <a:custGeom>
                    <a:avLst/>
                    <a:gdLst>
                      <a:gd name="T0" fmla="*/ 783 w 1350"/>
                      <a:gd name="T1" fmla="*/ 108 h 1342"/>
                      <a:gd name="T2" fmla="*/ 675 w 1350"/>
                      <a:gd name="T3" fmla="*/ 216 h 1342"/>
                      <a:gd name="T4" fmla="*/ 567 w 1350"/>
                      <a:gd name="T5" fmla="*/ 108 h 1342"/>
                      <a:gd name="T6" fmla="*/ 675 w 1350"/>
                      <a:gd name="T7" fmla="*/ 0 h 1342"/>
                      <a:gd name="T8" fmla="*/ 783 w 1350"/>
                      <a:gd name="T9" fmla="*/ 108 h 1342"/>
                      <a:gd name="T10" fmla="*/ 174 w 1350"/>
                      <a:gd name="T11" fmla="*/ 540 h 1342"/>
                      <a:gd name="T12" fmla="*/ 164 w 1350"/>
                      <a:gd name="T13" fmla="*/ 531 h 1342"/>
                      <a:gd name="T14" fmla="*/ 35 w 1350"/>
                      <a:gd name="T15" fmla="*/ 531 h 1342"/>
                      <a:gd name="T16" fmla="*/ 25 w 1350"/>
                      <a:gd name="T17" fmla="*/ 540 h 1342"/>
                      <a:gd name="T18" fmla="*/ 0 w 1350"/>
                      <a:gd name="T19" fmla="*/ 1332 h 1342"/>
                      <a:gd name="T20" fmla="*/ 10 w 1350"/>
                      <a:gd name="T21" fmla="*/ 1342 h 1342"/>
                      <a:gd name="T22" fmla="*/ 188 w 1350"/>
                      <a:gd name="T23" fmla="*/ 1342 h 1342"/>
                      <a:gd name="T24" fmla="*/ 198 w 1350"/>
                      <a:gd name="T25" fmla="*/ 1332 h 1342"/>
                      <a:gd name="T26" fmla="*/ 174 w 1350"/>
                      <a:gd name="T27" fmla="*/ 540 h 1342"/>
                      <a:gd name="T28" fmla="*/ 557 w 1350"/>
                      <a:gd name="T29" fmla="*/ 540 h 1342"/>
                      <a:gd name="T30" fmla="*/ 548 w 1350"/>
                      <a:gd name="T31" fmla="*/ 531 h 1342"/>
                      <a:gd name="T32" fmla="*/ 418 w 1350"/>
                      <a:gd name="T33" fmla="*/ 531 h 1342"/>
                      <a:gd name="T34" fmla="*/ 409 w 1350"/>
                      <a:gd name="T35" fmla="*/ 540 h 1342"/>
                      <a:gd name="T36" fmla="*/ 384 w 1350"/>
                      <a:gd name="T37" fmla="*/ 1332 h 1342"/>
                      <a:gd name="T38" fmla="*/ 394 w 1350"/>
                      <a:gd name="T39" fmla="*/ 1342 h 1342"/>
                      <a:gd name="T40" fmla="*/ 572 w 1350"/>
                      <a:gd name="T41" fmla="*/ 1342 h 1342"/>
                      <a:gd name="T42" fmla="*/ 582 w 1350"/>
                      <a:gd name="T43" fmla="*/ 1332 h 1342"/>
                      <a:gd name="T44" fmla="*/ 557 w 1350"/>
                      <a:gd name="T45" fmla="*/ 540 h 1342"/>
                      <a:gd name="T46" fmla="*/ 941 w 1350"/>
                      <a:gd name="T47" fmla="*/ 540 h 1342"/>
                      <a:gd name="T48" fmla="*/ 932 w 1350"/>
                      <a:gd name="T49" fmla="*/ 531 h 1342"/>
                      <a:gd name="T50" fmla="*/ 802 w 1350"/>
                      <a:gd name="T51" fmla="*/ 531 h 1342"/>
                      <a:gd name="T52" fmla="*/ 793 w 1350"/>
                      <a:gd name="T53" fmla="*/ 540 h 1342"/>
                      <a:gd name="T54" fmla="*/ 768 w 1350"/>
                      <a:gd name="T55" fmla="*/ 1332 h 1342"/>
                      <a:gd name="T56" fmla="*/ 778 w 1350"/>
                      <a:gd name="T57" fmla="*/ 1342 h 1342"/>
                      <a:gd name="T58" fmla="*/ 956 w 1350"/>
                      <a:gd name="T59" fmla="*/ 1342 h 1342"/>
                      <a:gd name="T60" fmla="*/ 966 w 1350"/>
                      <a:gd name="T61" fmla="*/ 1332 h 1342"/>
                      <a:gd name="T62" fmla="*/ 941 w 1350"/>
                      <a:gd name="T63" fmla="*/ 540 h 1342"/>
                      <a:gd name="T64" fmla="*/ 1325 w 1350"/>
                      <a:gd name="T65" fmla="*/ 540 h 1342"/>
                      <a:gd name="T66" fmla="*/ 1315 w 1350"/>
                      <a:gd name="T67" fmla="*/ 531 h 1342"/>
                      <a:gd name="T68" fmla="*/ 1186 w 1350"/>
                      <a:gd name="T69" fmla="*/ 531 h 1342"/>
                      <a:gd name="T70" fmla="*/ 1176 w 1350"/>
                      <a:gd name="T71" fmla="*/ 540 h 1342"/>
                      <a:gd name="T72" fmla="*/ 1152 w 1350"/>
                      <a:gd name="T73" fmla="*/ 1332 h 1342"/>
                      <a:gd name="T74" fmla="*/ 1162 w 1350"/>
                      <a:gd name="T75" fmla="*/ 1342 h 1342"/>
                      <a:gd name="T76" fmla="*/ 1340 w 1350"/>
                      <a:gd name="T77" fmla="*/ 1342 h 1342"/>
                      <a:gd name="T78" fmla="*/ 1350 w 1350"/>
                      <a:gd name="T79" fmla="*/ 1332 h 1342"/>
                      <a:gd name="T80" fmla="*/ 1325 w 1350"/>
                      <a:gd name="T81" fmla="*/ 540 h 1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1350" h="1342">
                        <a:moveTo>
                          <a:pt x="783" y="108"/>
                        </a:moveTo>
                        <a:cubicBezTo>
                          <a:pt x="783" y="167"/>
                          <a:pt x="735" y="216"/>
                          <a:pt x="675" y="216"/>
                        </a:cubicBezTo>
                        <a:cubicBezTo>
                          <a:pt x="615" y="216"/>
                          <a:pt x="567" y="167"/>
                          <a:pt x="567" y="108"/>
                        </a:cubicBezTo>
                        <a:cubicBezTo>
                          <a:pt x="567" y="48"/>
                          <a:pt x="615" y="0"/>
                          <a:pt x="675" y="0"/>
                        </a:cubicBezTo>
                        <a:cubicBezTo>
                          <a:pt x="735" y="0"/>
                          <a:pt x="783" y="48"/>
                          <a:pt x="783" y="108"/>
                        </a:cubicBezTo>
                        <a:close/>
                        <a:moveTo>
                          <a:pt x="174" y="540"/>
                        </a:moveTo>
                        <a:cubicBezTo>
                          <a:pt x="174" y="535"/>
                          <a:pt x="169" y="531"/>
                          <a:pt x="164" y="531"/>
                        </a:cubicBezTo>
                        <a:cubicBezTo>
                          <a:pt x="35" y="531"/>
                          <a:pt x="35" y="531"/>
                          <a:pt x="35" y="531"/>
                        </a:cubicBezTo>
                        <a:cubicBezTo>
                          <a:pt x="29" y="531"/>
                          <a:pt x="25" y="535"/>
                          <a:pt x="25" y="540"/>
                        </a:cubicBezTo>
                        <a:cubicBezTo>
                          <a:pt x="0" y="1332"/>
                          <a:pt x="0" y="1332"/>
                          <a:pt x="0" y="1332"/>
                        </a:cubicBezTo>
                        <a:cubicBezTo>
                          <a:pt x="0" y="1337"/>
                          <a:pt x="5" y="1342"/>
                          <a:pt x="10" y="1342"/>
                        </a:cubicBezTo>
                        <a:cubicBezTo>
                          <a:pt x="188" y="1342"/>
                          <a:pt x="188" y="1342"/>
                          <a:pt x="188" y="1342"/>
                        </a:cubicBezTo>
                        <a:cubicBezTo>
                          <a:pt x="194" y="1342"/>
                          <a:pt x="198" y="1337"/>
                          <a:pt x="198" y="1332"/>
                        </a:cubicBezTo>
                        <a:lnTo>
                          <a:pt x="174" y="540"/>
                        </a:lnTo>
                        <a:close/>
                        <a:moveTo>
                          <a:pt x="557" y="540"/>
                        </a:moveTo>
                        <a:cubicBezTo>
                          <a:pt x="557" y="535"/>
                          <a:pt x="553" y="531"/>
                          <a:pt x="548" y="531"/>
                        </a:cubicBezTo>
                        <a:cubicBezTo>
                          <a:pt x="418" y="531"/>
                          <a:pt x="418" y="531"/>
                          <a:pt x="418" y="531"/>
                        </a:cubicBezTo>
                        <a:cubicBezTo>
                          <a:pt x="413" y="531"/>
                          <a:pt x="409" y="535"/>
                          <a:pt x="409" y="540"/>
                        </a:cubicBezTo>
                        <a:cubicBezTo>
                          <a:pt x="384" y="1332"/>
                          <a:pt x="384" y="1332"/>
                          <a:pt x="384" y="1332"/>
                        </a:cubicBezTo>
                        <a:cubicBezTo>
                          <a:pt x="384" y="1337"/>
                          <a:pt x="389" y="1342"/>
                          <a:pt x="394" y="1342"/>
                        </a:cubicBezTo>
                        <a:cubicBezTo>
                          <a:pt x="572" y="1342"/>
                          <a:pt x="572" y="1342"/>
                          <a:pt x="572" y="1342"/>
                        </a:cubicBezTo>
                        <a:cubicBezTo>
                          <a:pt x="578" y="1342"/>
                          <a:pt x="582" y="1337"/>
                          <a:pt x="582" y="1332"/>
                        </a:cubicBezTo>
                        <a:lnTo>
                          <a:pt x="557" y="540"/>
                        </a:lnTo>
                        <a:close/>
                        <a:moveTo>
                          <a:pt x="941" y="540"/>
                        </a:moveTo>
                        <a:cubicBezTo>
                          <a:pt x="941" y="535"/>
                          <a:pt x="937" y="531"/>
                          <a:pt x="932" y="531"/>
                        </a:cubicBezTo>
                        <a:cubicBezTo>
                          <a:pt x="802" y="531"/>
                          <a:pt x="802" y="531"/>
                          <a:pt x="802" y="531"/>
                        </a:cubicBezTo>
                        <a:cubicBezTo>
                          <a:pt x="797" y="531"/>
                          <a:pt x="793" y="535"/>
                          <a:pt x="793" y="540"/>
                        </a:cubicBezTo>
                        <a:cubicBezTo>
                          <a:pt x="768" y="1332"/>
                          <a:pt x="768" y="1332"/>
                          <a:pt x="768" y="1332"/>
                        </a:cubicBezTo>
                        <a:cubicBezTo>
                          <a:pt x="768" y="1337"/>
                          <a:pt x="772" y="1342"/>
                          <a:pt x="778" y="1342"/>
                        </a:cubicBezTo>
                        <a:cubicBezTo>
                          <a:pt x="956" y="1342"/>
                          <a:pt x="956" y="1342"/>
                          <a:pt x="956" y="1342"/>
                        </a:cubicBezTo>
                        <a:cubicBezTo>
                          <a:pt x="961" y="1342"/>
                          <a:pt x="966" y="1337"/>
                          <a:pt x="966" y="1332"/>
                        </a:cubicBezTo>
                        <a:lnTo>
                          <a:pt x="941" y="540"/>
                        </a:lnTo>
                        <a:close/>
                        <a:moveTo>
                          <a:pt x="1325" y="540"/>
                        </a:moveTo>
                        <a:cubicBezTo>
                          <a:pt x="1325" y="535"/>
                          <a:pt x="1321" y="531"/>
                          <a:pt x="1315" y="531"/>
                        </a:cubicBezTo>
                        <a:cubicBezTo>
                          <a:pt x="1186" y="531"/>
                          <a:pt x="1186" y="531"/>
                          <a:pt x="1186" y="531"/>
                        </a:cubicBezTo>
                        <a:cubicBezTo>
                          <a:pt x="1181" y="531"/>
                          <a:pt x="1176" y="535"/>
                          <a:pt x="1176" y="540"/>
                        </a:cubicBezTo>
                        <a:cubicBezTo>
                          <a:pt x="1152" y="1332"/>
                          <a:pt x="1152" y="1332"/>
                          <a:pt x="1152" y="1332"/>
                        </a:cubicBezTo>
                        <a:cubicBezTo>
                          <a:pt x="1152" y="1337"/>
                          <a:pt x="1156" y="1342"/>
                          <a:pt x="1162" y="1342"/>
                        </a:cubicBezTo>
                        <a:cubicBezTo>
                          <a:pt x="1340" y="1342"/>
                          <a:pt x="1340" y="1342"/>
                          <a:pt x="1340" y="1342"/>
                        </a:cubicBezTo>
                        <a:cubicBezTo>
                          <a:pt x="1345" y="1342"/>
                          <a:pt x="1350" y="1337"/>
                          <a:pt x="1350" y="1332"/>
                        </a:cubicBezTo>
                        <a:lnTo>
                          <a:pt x="1325" y="540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89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783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675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566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457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348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24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13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1013"/>
                  </a:p>
                </p:txBody>
              </p:sp>
            </p:grpSp>
          </p:grpSp>
        </p:grp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B9DB0C5-25F2-716C-F999-2494D8F61173}"/>
                </a:ext>
              </a:extLst>
            </p:cNvPr>
            <p:cNvCxnSpPr>
              <a:cxnSpLocks/>
            </p:cNvCxnSpPr>
            <p:nvPr/>
          </p:nvCxnSpPr>
          <p:spPr>
            <a:xfrm>
              <a:off x="1504136" y="3286818"/>
              <a:ext cx="3060856" cy="0"/>
            </a:xfrm>
            <a:prstGeom prst="line">
              <a:avLst/>
            </a:prstGeom>
            <a:ln w="6350" cap="sq" cmpd="sng" algn="ctr">
              <a:solidFill>
                <a:srgbClr val="66327A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4B6155F-B346-9FB7-CE91-D54921E6C759}"/>
                </a:ext>
              </a:extLst>
            </p:cNvPr>
            <p:cNvSpPr txBox="1"/>
            <p:nvPr/>
          </p:nvSpPr>
          <p:spPr>
            <a:xfrm>
              <a:off x="769345" y="3526746"/>
              <a:ext cx="4530438" cy="220060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5796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latin typeface="Montserrat" panose="00000500000000000000" pitchFamily="2" charset="0"/>
                </a:rPr>
                <a:t>Ensure continuity at a defined </a:t>
              </a: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level for critical functions in the event of an outage of third-party services</a:t>
              </a: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Implementation, where possible, of reversibility policies or alternative solutions</a:t>
              </a: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Preservation of an autonomous </a:t>
              </a:r>
              <a:r>
                <a:rPr lang="fr-FR" sz="900">
                  <a:latin typeface="Montserrat" panose="00000500000000000000" pitchFamily="2" charset="0"/>
                </a:rPr>
                <a:t>technical foundation</a:t>
              </a:r>
              <a:endParaRPr lang="fr-FR" sz="9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45796" lvl="1" indent="-97198">
                <a:spcBef>
                  <a:spcPts val="450"/>
                </a:spcBef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latin typeface="Montserrat" panose="00000500000000000000" pitchFamily="2" charset="0"/>
                </a:rPr>
                <a:t>Mitigate budgetary and compliance risks related to </a:t>
              </a: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certain</a:t>
              </a:r>
              <a:r>
                <a:rPr lang="fr-FR" sz="900">
                  <a:latin typeface="Montserrat" panose="00000500000000000000" pitchFamily="2" charset="0"/>
                </a:rPr>
                <a:t> suppliers</a:t>
              </a:r>
              <a:endParaRPr lang="fr-FR" sz="900">
                <a:solidFill>
                  <a:schemeClr val="tx1"/>
                </a:solidFill>
                <a:latin typeface="Montserrat" panose="00000500000000000000" pitchFamily="2" charset="0"/>
              </a:endParaRP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Supplier diversification</a:t>
              </a:r>
              <a:endParaRPr lang="fr-FR" sz="900">
                <a:solidFill>
                  <a:schemeClr val="tx1"/>
                </a:solidFill>
                <a:latin typeface="Montserrat" panose="00000500000000000000" pitchFamily="2" charset="0"/>
              </a:endParaRP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Strengthening contractual</a:t>
              </a:r>
              <a:r>
                <a:rPr lang="fr-FR" sz="900">
                  <a:latin typeface="Montserrat" panose="00000500000000000000" pitchFamily="2" charset="0"/>
                </a:rPr>
                <a:t> levers </a:t>
              </a:r>
              <a:endParaRPr lang="fr-FR" sz="900">
                <a:solidFill>
                  <a:schemeClr val="tx1"/>
                </a:solidFill>
                <a:latin typeface="Montserrat" panose="00000500000000000000" pitchFamily="2" charset="0"/>
              </a:endParaRP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Assessment of strategic </a:t>
              </a:r>
              <a:r>
                <a:rPr lang="fr-FR" sz="900">
                  <a:solidFill>
                    <a:schemeClr val="tx1"/>
                  </a:solidFill>
                  <a:latin typeface="Montserrat" panose="00000500000000000000" pitchFamily="2" charset="0"/>
                </a:rPr>
                <a:t>exits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7F2C5557-06C7-E9AE-33A4-EECE328C2345}"/>
              </a:ext>
            </a:extLst>
          </p:cNvPr>
          <p:cNvGrpSpPr>
            <a:grpSpLocks noChangeAspect="1"/>
          </p:cNvGrpSpPr>
          <p:nvPr/>
        </p:nvGrpSpPr>
        <p:grpSpPr>
          <a:xfrm>
            <a:off x="5290135" y="2432651"/>
            <a:ext cx="118283" cy="118283"/>
            <a:chOff x="982662" y="1847850"/>
            <a:chExt cx="269875" cy="269875"/>
          </a:xfrm>
        </p:grpSpPr>
        <p:sp>
          <p:nvSpPr>
            <p:cNvPr id="113" name="Oval 50">
              <a:extLst>
                <a:ext uri="{FF2B5EF4-FFF2-40B4-BE49-F238E27FC236}">
                  <a16:creationId xmlns:a16="http://schemas.microsoft.com/office/drawing/2014/main" id="{7F4872DB-5424-D3D6-51BC-CADB4AA3C3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114" name="Freeform 51">
              <a:extLst>
                <a:ext uri="{FF2B5EF4-FFF2-40B4-BE49-F238E27FC236}">
                  <a16:creationId xmlns:a16="http://schemas.microsoft.com/office/drawing/2014/main" id="{16713FFD-A659-DDB6-03E1-26CA24F30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C28D212F-66C3-6B6F-17E0-C61779BC685E}"/>
              </a:ext>
            </a:extLst>
          </p:cNvPr>
          <p:cNvGrpSpPr/>
          <p:nvPr/>
        </p:nvGrpSpPr>
        <p:grpSpPr>
          <a:xfrm>
            <a:off x="534836" y="856214"/>
            <a:ext cx="3397829" cy="3023000"/>
            <a:chOff x="7022105" y="1512014"/>
            <a:chExt cx="4530438" cy="4030668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5EBB506-EE8D-907E-F317-B0FE64AB7881}"/>
                </a:ext>
              </a:extLst>
            </p:cNvPr>
            <p:cNvSpPr txBox="1"/>
            <p:nvPr/>
          </p:nvSpPr>
          <p:spPr>
            <a:xfrm>
              <a:off x="7491778" y="2474161"/>
              <a:ext cx="3591092" cy="95410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050" b="1">
                  <a:solidFill>
                    <a:srgbClr val="F08050"/>
                  </a:solidFill>
                  <a:latin typeface="Montserrat" panose="00000500000000000000" pitchFamily="2" charset="0"/>
                </a:rPr>
                <a:t>Having state-of-the-art functionality and fully benefiting from technological innovations...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E0712ECA-8F92-5E1E-EE91-C9B4490CCF1D}"/>
                </a:ext>
              </a:extLst>
            </p:cNvPr>
            <p:cNvGrpSpPr/>
            <p:nvPr/>
          </p:nvGrpSpPr>
          <p:grpSpPr>
            <a:xfrm>
              <a:off x="8747574" y="1512014"/>
              <a:ext cx="1079500" cy="1080500"/>
              <a:chOff x="4930811" y="2263812"/>
              <a:chExt cx="2330377" cy="2330377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42ABDF-8111-531F-D921-907CCD631009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4930811" y="2263812"/>
                <a:ext cx="2330377" cy="2330377"/>
              </a:xfrm>
              <a:prstGeom prst="ellipse">
                <a:avLst/>
              </a:prstGeom>
              <a:solidFill>
                <a:srgbClr val="FFFFFF"/>
              </a:solidFill>
              <a:ln w="38100">
                <a:gradFill flip="none" rotWithShape="1">
                  <a:gsLst>
                    <a:gs pos="0">
                      <a:srgbClr val="F2976E"/>
                    </a:gs>
                    <a:gs pos="100000">
                      <a:srgbClr val="F2976E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68580" rIns="68580" bIns="68580" rtlCol="0" anchor="ctr"/>
              <a:lstStyle>
                <a:defPPr>
                  <a:defRPr lang="en-US"/>
                </a:defPPr>
                <a:lvl1pPr marL="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9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783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675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566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457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348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4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13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5000"/>
                  </a:lnSpc>
                </a:pPr>
                <a:endParaRPr lang="fr-FR" sz="1200" kern="0" err="1">
                  <a:solidFill>
                    <a:schemeClr val="tx1"/>
                  </a:solidFill>
                  <a:latin typeface="Montserrat" panose="00000500000000000000" pitchFamily="2" charset="0"/>
                </a:endParaRPr>
              </a:p>
            </p:txBody>
          </p:sp>
          <p:grpSp>
            <p:nvGrpSpPr>
              <p:cNvPr id="85" name="bcgIcons_Biometric Fingerprint ">
                <a:extLst>
                  <a:ext uri="{FF2B5EF4-FFF2-40B4-BE49-F238E27FC236}">
                    <a16:creationId xmlns:a16="http://schemas.microsoft.com/office/drawing/2014/main" id="{B9EC3847-9972-5A05-603F-D829D229723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272087" y="2605088"/>
                <a:ext cx="1647825" cy="1647825"/>
                <a:chOff x="2053680" y="2605087"/>
                <a:chExt cx="1647825" cy="1647825"/>
              </a:xfrm>
            </p:grpSpPr>
            <p:sp>
              <p:nvSpPr>
                <p:cNvPr id="86" name="AutoShape 69">
                  <a:extLst>
                    <a:ext uri="{FF2B5EF4-FFF2-40B4-BE49-F238E27FC236}">
                      <a16:creationId xmlns:a16="http://schemas.microsoft.com/office/drawing/2014/main" id="{BDF1E2F5-EA06-4A36-C1FC-C33F974F6CE3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053680" y="2605087"/>
                  <a:ext cx="1647825" cy="16478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892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783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675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566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457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348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240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132" algn="l" defTabSz="685783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013"/>
                </a:p>
              </p:txBody>
            </p:sp>
            <p:grpSp>
              <p:nvGrpSpPr>
                <p:cNvPr id="87" name="Group 86">
                  <a:extLst>
                    <a:ext uri="{FF2B5EF4-FFF2-40B4-BE49-F238E27FC236}">
                      <a16:creationId xmlns:a16="http://schemas.microsoft.com/office/drawing/2014/main" id="{893FD88A-2F78-2C08-13D8-57B6FD052165}"/>
                    </a:ext>
                  </a:extLst>
                </p:cNvPr>
                <p:cNvGrpSpPr/>
                <p:nvPr/>
              </p:nvGrpSpPr>
              <p:grpSpPr>
                <a:xfrm>
                  <a:off x="2469855" y="2774450"/>
                  <a:ext cx="803119" cy="1307592"/>
                  <a:chOff x="2469855" y="2774450"/>
                  <a:chExt cx="803119" cy="1307592"/>
                </a:xfrm>
              </p:grpSpPr>
              <p:sp>
                <p:nvSpPr>
                  <p:cNvPr id="88" name="Freeform 71">
                    <a:extLst>
                      <a:ext uri="{FF2B5EF4-FFF2-40B4-BE49-F238E27FC236}">
                        <a16:creationId xmlns:a16="http://schemas.microsoft.com/office/drawing/2014/main" id="{435FB279-4063-D24E-2A70-7963023AE74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602151" y="2774450"/>
                    <a:ext cx="577100" cy="1307592"/>
                  </a:xfrm>
                  <a:custGeom>
                    <a:avLst/>
                    <a:gdLst>
                      <a:gd name="T0" fmla="*/ 235 w 807"/>
                      <a:gd name="T1" fmla="*/ 168 h 1828"/>
                      <a:gd name="T2" fmla="*/ 73 w 807"/>
                      <a:gd name="T3" fmla="*/ 331 h 1828"/>
                      <a:gd name="T4" fmla="*/ 73 w 807"/>
                      <a:gd name="T5" fmla="*/ 403 h 1828"/>
                      <a:gd name="T6" fmla="*/ 0 w 807"/>
                      <a:gd name="T7" fmla="*/ 234 h 1828"/>
                      <a:gd name="T8" fmla="*/ 235 w 807"/>
                      <a:gd name="T9" fmla="*/ 0 h 1828"/>
                      <a:gd name="T10" fmla="*/ 469 w 807"/>
                      <a:gd name="T11" fmla="*/ 234 h 1828"/>
                      <a:gd name="T12" fmla="*/ 398 w 807"/>
                      <a:gd name="T13" fmla="*/ 402 h 1828"/>
                      <a:gd name="T14" fmla="*/ 398 w 807"/>
                      <a:gd name="T15" fmla="*/ 331 h 1828"/>
                      <a:gd name="T16" fmla="*/ 235 w 807"/>
                      <a:gd name="T17" fmla="*/ 168 h 1828"/>
                      <a:gd name="T18" fmla="*/ 807 w 807"/>
                      <a:gd name="T19" fmla="*/ 1483 h 1828"/>
                      <a:gd name="T20" fmla="*/ 785 w 807"/>
                      <a:gd name="T21" fmla="*/ 1466 h 1828"/>
                      <a:gd name="T22" fmla="*/ 148 w 807"/>
                      <a:gd name="T23" fmla="*/ 1466 h 1828"/>
                      <a:gd name="T24" fmla="*/ 126 w 807"/>
                      <a:gd name="T25" fmla="*/ 1488 h 1828"/>
                      <a:gd name="T26" fmla="*/ 126 w 807"/>
                      <a:gd name="T27" fmla="*/ 1501 h 1828"/>
                      <a:gd name="T28" fmla="*/ 126 w 807"/>
                      <a:gd name="T29" fmla="*/ 1806 h 1828"/>
                      <a:gd name="T30" fmla="*/ 148 w 807"/>
                      <a:gd name="T31" fmla="*/ 1828 h 1828"/>
                      <a:gd name="T32" fmla="*/ 785 w 807"/>
                      <a:gd name="T33" fmla="*/ 1828 h 1828"/>
                      <a:gd name="T34" fmla="*/ 807 w 807"/>
                      <a:gd name="T35" fmla="*/ 1806 h 1828"/>
                      <a:gd name="T36" fmla="*/ 807 w 807"/>
                      <a:gd name="T37" fmla="*/ 1488 h 1828"/>
                      <a:gd name="T38" fmla="*/ 807 w 807"/>
                      <a:gd name="T39" fmla="*/ 1483 h 18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807" h="1828">
                        <a:moveTo>
                          <a:pt x="235" y="168"/>
                        </a:moveTo>
                        <a:cubicBezTo>
                          <a:pt x="146" y="168"/>
                          <a:pt x="73" y="241"/>
                          <a:pt x="73" y="331"/>
                        </a:cubicBezTo>
                        <a:cubicBezTo>
                          <a:pt x="73" y="403"/>
                          <a:pt x="73" y="403"/>
                          <a:pt x="73" y="403"/>
                        </a:cubicBezTo>
                        <a:cubicBezTo>
                          <a:pt x="28" y="360"/>
                          <a:pt x="0" y="300"/>
                          <a:pt x="0" y="234"/>
                        </a:cubicBezTo>
                        <a:cubicBezTo>
                          <a:pt x="0" y="105"/>
                          <a:pt x="105" y="0"/>
                          <a:pt x="235" y="0"/>
                        </a:cubicBezTo>
                        <a:cubicBezTo>
                          <a:pt x="364" y="0"/>
                          <a:pt x="469" y="105"/>
                          <a:pt x="469" y="234"/>
                        </a:cubicBezTo>
                        <a:cubicBezTo>
                          <a:pt x="469" y="300"/>
                          <a:pt x="442" y="359"/>
                          <a:pt x="398" y="402"/>
                        </a:cubicBezTo>
                        <a:cubicBezTo>
                          <a:pt x="398" y="331"/>
                          <a:pt x="398" y="331"/>
                          <a:pt x="398" y="331"/>
                        </a:cubicBezTo>
                        <a:cubicBezTo>
                          <a:pt x="398" y="241"/>
                          <a:pt x="325" y="168"/>
                          <a:pt x="235" y="168"/>
                        </a:cubicBezTo>
                        <a:close/>
                        <a:moveTo>
                          <a:pt x="807" y="1483"/>
                        </a:moveTo>
                        <a:cubicBezTo>
                          <a:pt x="805" y="1474"/>
                          <a:pt x="796" y="1466"/>
                          <a:pt x="785" y="1466"/>
                        </a:cubicBezTo>
                        <a:cubicBezTo>
                          <a:pt x="148" y="1466"/>
                          <a:pt x="148" y="1466"/>
                          <a:pt x="148" y="1466"/>
                        </a:cubicBezTo>
                        <a:cubicBezTo>
                          <a:pt x="136" y="1466"/>
                          <a:pt x="126" y="1476"/>
                          <a:pt x="126" y="1488"/>
                        </a:cubicBezTo>
                        <a:cubicBezTo>
                          <a:pt x="126" y="1501"/>
                          <a:pt x="126" y="1501"/>
                          <a:pt x="126" y="1501"/>
                        </a:cubicBezTo>
                        <a:cubicBezTo>
                          <a:pt x="126" y="1806"/>
                          <a:pt x="126" y="1806"/>
                          <a:pt x="126" y="1806"/>
                        </a:cubicBezTo>
                        <a:cubicBezTo>
                          <a:pt x="126" y="1819"/>
                          <a:pt x="136" y="1828"/>
                          <a:pt x="148" y="1828"/>
                        </a:cubicBezTo>
                        <a:cubicBezTo>
                          <a:pt x="785" y="1828"/>
                          <a:pt x="785" y="1828"/>
                          <a:pt x="785" y="1828"/>
                        </a:cubicBezTo>
                        <a:cubicBezTo>
                          <a:pt x="797" y="1828"/>
                          <a:pt x="807" y="1819"/>
                          <a:pt x="807" y="1806"/>
                        </a:cubicBezTo>
                        <a:cubicBezTo>
                          <a:pt x="807" y="1488"/>
                          <a:pt x="807" y="1488"/>
                          <a:pt x="807" y="1488"/>
                        </a:cubicBezTo>
                        <a:cubicBezTo>
                          <a:pt x="807" y="1486"/>
                          <a:pt x="807" y="1485"/>
                          <a:pt x="807" y="1483"/>
                        </a:cubicBezTo>
                        <a:close/>
                      </a:path>
                    </a:pathLst>
                  </a:custGeom>
                  <a:solidFill>
                    <a:srgbClr val="F08050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89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783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675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566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457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348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24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13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1013">
                      <a:latin typeface="Montserrat" panose="00000500000000000000" pitchFamily="2" charset="0"/>
                    </a:endParaRPr>
                  </a:p>
                </p:txBody>
              </p:sp>
              <p:sp>
                <p:nvSpPr>
                  <p:cNvPr id="89" name="Freeform 72">
                    <a:extLst>
                      <a:ext uri="{FF2B5EF4-FFF2-40B4-BE49-F238E27FC236}">
                        <a16:creationId xmlns:a16="http://schemas.microsoft.com/office/drawing/2014/main" id="{E6F3DBAE-7E41-89F7-35F5-B193669ED95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469855" y="2926335"/>
                    <a:ext cx="803119" cy="889609"/>
                  </a:xfrm>
                  <a:custGeom>
                    <a:avLst/>
                    <a:gdLst>
                      <a:gd name="T0" fmla="*/ 993 w 1123"/>
                      <a:gd name="T1" fmla="*/ 1214 h 1244"/>
                      <a:gd name="T2" fmla="*/ 928 w 1123"/>
                      <a:gd name="T3" fmla="*/ 620 h 1244"/>
                      <a:gd name="T4" fmla="*/ 885 w 1123"/>
                      <a:gd name="T5" fmla="*/ 620 h 1244"/>
                      <a:gd name="T6" fmla="*/ 734 w 1123"/>
                      <a:gd name="T7" fmla="*/ 660 h 1244"/>
                      <a:gd name="T8" fmla="*/ 690 w 1123"/>
                      <a:gd name="T9" fmla="*/ 520 h 1244"/>
                      <a:gd name="T10" fmla="*/ 539 w 1123"/>
                      <a:gd name="T11" fmla="*/ 642 h 1244"/>
                      <a:gd name="T12" fmla="*/ 496 w 1123"/>
                      <a:gd name="T13" fmla="*/ 520 h 1244"/>
                      <a:gd name="T14" fmla="*/ 420 w 1123"/>
                      <a:gd name="T15" fmla="*/ 44 h 1244"/>
                      <a:gd name="T16" fmla="*/ 345 w 1123"/>
                      <a:gd name="T17" fmla="*/ 837 h 1244"/>
                      <a:gd name="T18" fmla="*/ 94 w 1123"/>
                      <a:gd name="T19" fmla="*/ 670 h 1244"/>
                      <a:gd name="T20" fmla="*/ 29 w 1123"/>
                      <a:gd name="T21" fmla="*/ 788 h 1244"/>
                      <a:gd name="T22" fmla="*/ 301 w 1123"/>
                      <a:gd name="T23" fmla="*/ 307 h 1244"/>
                      <a:gd name="T24" fmla="*/ 539 w 1123"/>
                      <a:gd name="T25" fmla="*/ 119 h 1244"/>
                      <a:gd name="T26" fmla="*/ 615 w 1123"/>
                      <a:gd name="T27" fmla="*/ 401 h 1244"/>
                      <a:gd name="T28" fmla="*/ 993 w 1123"/>
                      <a:gd name="T29" fmla="*/ 512 h 1244"/>
                      <a:gd name="T30" fmla="*/ 432 w 1123"/>
                      <a:gd name="T31" fmla="*/ 223 h 1244"/>
                      <a:gd name="T32" fmla="*/ 396 w 1123"/>
                      <a:gd name="T33" fmla="*/ 237 h 1244"/>
                      <a:gd name="T34" fmla="*/ 419 w 1123"/>
                      <a:gd name="T35" fmla="*/ 232 h 1244"/>
                      <a:gd name="T36" fmla="*/ 438 w 1123"/>
                      <a:gd name="T37" fmla="*/ 237 h 1244"/>
                      <a:gd name="T38" fmla="*/ 449 w 1123"/>
                      <a:gd name="T39" fmla="*/ 218 h 1244"/>
                      <a:gd name="T40" fmla="*/ 412 w 1123"/>
                      <a:gd name="T41" fmla="*/ 208 h 1244"/>
                      <a:gd name="T42" fmla="*/ 388 w 1123"/>
                      <a:gd name="T43" fmla="*/ 231 h 1244"/>
                      <a:gd name="T44" fmla="*/ 416 w 1123"/>
                      <a:gd name="T45" fmla="*/ 217 h 1244"/>
                      <a:gd name="T46" fmla="*/ 424 w 1123"/>
                      <a:gd name="T47" fmla="*/ 214 h 1244"/>
                      <a:gd name="T48" fmla="*/ 449 w 1123"/>
                      <a:gd name="T49" fmla="*/ 225 h 1244"/>
                      <a:gd name="T50" fmla="*/ 446 w 1123"/>
                      <a:gd name="T51" fmla="*/ 188 h 1244"/>
                      <a:gd name="T52" fmla="*/ 407 w 1123"/>
                      <a:gd name="T53" fmla="*/ 188 h 1244"/>
                      <a:gd name="T54" fmla="*/ 377 w 1123"/>
                      <a:gd name="T55" fmla="*/ 219 h 1244"/>
                      <a:gd name="T56" fmla="*/ 413 w 1123"/>
                      <a:gd name="T57" fmla="*/ 195 h 1244"/>
                      <a:gd name="T58" fmla="*/ 456 w 1123"/>
                      <a:gd name="T59" fmla="*/ 210 h 1244"/>
                      <a:gd name="T60" fmla="*/ 370 w 1123"/>
                      <a:gd name="T61" fmla="*/ 186 h 1244"/>
                      <a:gd name="T62" fmla="*/ 432 w 1123"/>
                      <a:gd name="T63" fmla="*/ 127 h 1244"/>
                      <a:gd name="T64" fmla="*/ 365 w 1123"/>
                      <a:gd name="T65" fmla="*/ 178 h 1244"/>
                      <a:gd name="T66" fmla="*/ 369 w 1123"/>
                      <a:gd name="T67" fmla="*/ 186 h 1244"/>
                      <a:gd name="T68" fmla="*/ 417 w 1123"/>
                      <a:gd name="T69" fmla="*/ 177 h 1244"/>
                      <a:gd name="T70" fmla="*/ 435 w 1123"/>
                      <a:gd name="T71" fmla="*/ 107 h 1244"/>
                      <a:gd name="T72" fmla="*/ 361 w 1123"/>
                      <a:gd name="T73" fmla="*/ 160 h 1244"/>
                      <a:gd name="T74" fmla="*/ 404 w 1123"/>
                      <a:gd name="T75" fmla="*/ 139 h 1244"/>
                      <a:gd name="T76" fmla="*/ 435 w 1123"/>
                      <a:gd name="T77" fmla="*/ 150 h 1244"/>
                      <a:gd name="T78" fmla="*/ 370 w 1123"/>
                      <a:gd name="T79" fmla="*/ 201 h 1244"/>
                      <a:gd name="T80" fmla="*/ 368 w 1123"/>
                      <a:gd name="T81" fmla="*/ 146 h 1244"/>
                      <a:gd name="T82" fmla="*/ 390 w 1123"/>
                      <a:gd name="T83" fmla="*/ 129 h 1244"/>
                      <a:gd name="T84" fmla="*/ 442 w 1123"/>
                      <a:gd name="T85" fmla="*/ 100 h 1244"/>
                      <a:gd name="T86" fmla="*/ 383 w 1123"/>
                      <a:gd name="T87" fmla="*/ 122 h 1244"/>
                      <a:gd name="T88" fmla="*/ 362 w 1123"/>
                      <a:gd name="T89" fmla="*/ 143 h 1244"/>
                      <a:gd name="T90" fmla="*/ 360 w 1123"/>
                      <a:gd name="T91" fmla="*/ 120 h 1244"/>
                      <a:gd name="T92" fmla="*/ 369 w 1123"/>
                      <a:gd name="T93" fmla="*/ 126 h 1244"/>
                      <a:gd name="T94" fmla="*/ 470 w 1123"/>
                      <a:gd name="T95" fmla="*/ 150 h 1244"/>
                      <a:gd name="T96" fmla="*/ 467 w 1123"/>
                      <a:gd name="T97" fmla="*/ 100 h 12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123" h="1244">
                        <a:moveTo>
                          <a:pt x="1123" y="642"/>
                        </a:moveTo>
                        <a:cubicBezTo>
                          <a:pt x="1123" y="973"/>
                          <a:pt x="1123" y="973"/>
                          <a:pt x="1123" y="973"/>
                        </a:cubicBezTo>
                        <a:cubicBezTo>
                          <a:pt x="1123" y="1070"/>
                          <a:pt x="1091" y="1158"/>
                          <a:pt x="1026" y="1242"/>
                        </a:cubicBezTo>
                        <a:cubicBezTo>
                          <a:pt x="1019" y="1229"/>
                          <a:pt x="1007" y="1219"/>
                          <a:pt x="993" y="1214"/>
                        </a:cubicBezTo>
                        <a:cubicBezTo>
                          <a:pt x="1079" y="1101"/>
                          <a:pt x="1079" y="1006"/>
                          <a:pt x="1079" y="973"/>
                        </a:cubicBezTo>
                        <a:cubicBezTo>
                          <a:pt x="1079" y="642"/>
                          <a:pt x="1079" y="642"/>
                          <a:pt x="1079" y="642"/>
                        </a:cubicBezTo>
                        <a:cubicBezTo>
                          <a:pt x="1079" y="595"/>
                          <a:pt x="1040" y="556"/>
                          <a:pt x="993" y="556"/>
                        </a:cubicBezTo>
                        <a:cubicBezTo>
                          <a:pt x="957" y="556"/>
                          <a:pt x="928" y="585"/>
                          <a:pt x="928" y="620"/>
                        </a:cubicBezTo>
                        <a:cubicBezTo>
                          <a:pt x="928" y="686"/>
                          <a:pt x="928" y="686"/>
                          <a:pt x="928" y="686"/>
                        </a:cubicBezTo>
                        <a:cubicBezTo>
                          <a:pt x="928" y="698"/>
                          <a:pt x="918" y="708"/>
                          <a:pt x="906" y="708"/>
                        </a:cubicBezTo>
                        <a:cubicBezTo>
                          <a:pt x="894" y="708"/>
                          <a:pt x="885" y="698"/>
                          <a:pt x="885" y="686"/>
                        </a:cubicBezTo>
                        <a:cubicBezTo>
                          <a:pt x="885" y="620"/>
                          <a:pt x="885" y="620"/>
                          <a:pt x="885" y="620"/>
                        </a:cubicBezTo>
                        <a:cubicBezTo>
                          <a:pt x="885" y="577"/>
                          <a:pt x="885" y="577"/>
                          <a:pt x="885" y="577"/>
                        </a:cubicBezTo>
                        <a:cubicBezTo>
                          <a:pt x="885" y="536"/>
                          <a:pt x="851" y="502"/>
                          <a:pt x="809" y="502"/>
                        </a:cubicBezTo>
                        <a:cubicBezTo>
                          <a:pt x="768" y="502"/>
                          <a:pt x="734" y="536"/>
                          <a:pt x="734" y="577"/>
                        </a:cubicBezTo>
                        <a:cubicBezTo>
                          <a:pt x="734" y="660"/>
                          <a:pt x="734" y="660"/>
                          <a:pt x="734" y="660"/>
                        </a:cubicBezTo>
                        <a:cubicBezTo>
                          <a:pt x="734" y="672"/>
                          <a:pt x="724" y="682"/>
                          <a:pt x="712" y="682"/>
                        </a:cubicBezTo>
                        <a:cubicBezTo>
                          <a:pt x="700" y="682"/>
                          <a:pt x="690" y="672"/>
                          <a:pt x="690" y="660"/>
                        </a:cubicBezTo>
                        <a:cubicBezTo>
                          <a:pt x="690" y="577"/>
                          <a:pt x="690" y="577"/>
                          <a:pt x="690" y="577"/>
                        </a:cubicBezTo>
                        <a:cubicBezTo>
                          <a:pt x="690" y="520"/>
                          <a:pt x="690" y="520"/>
                          <a:pt x="690" y="520"/>
                        </a:cubicBezTo>
                        <a:cubicBezTo>
                          <a:pt x="690" y="478"/>
                          <a:pt x="656" y="444"/>
                          <a:pt x="615" y="444"/>
                        </a:cubicBezTo>
                        <a:cubicBezTo>
                          <a:pt x="573" y="444"/>
                          <a:pt x="539" y="478"/>
                          <a:pt x="539" y="520"/>
                        </a:cubicBezTo>
                        <a:cubicBezTo>
                          <a:pt x="539" y="620"/>
                          <a:pt x="539" y="620"/>
                          <a:pt x="539" y="620"/>
                        </a:cubicBezTo>
                        <a:cubicBezTo>
                          <a:pt x="539" y="642"/>
                          <a:pt x="539" y="642"/>
                          <a:pt x="539" y="642"/>
                        </a:cubicBezTo>
                        <a:cubicBezTo>
                          <a:pt x="539" y="655"/>
                          <a:pt x="530" y="664"/>
                          <a:pt x="518" y="664"/>
                        </a:cubicBezTo>
                        <a:cubicBezTo>
                          <a:pt x="505" y="664"/>
                          <a:pt x="496" y="655"/>
                          <a:pt x="496" y="642"/>
                        </a:cubicBezTo>
                        <a:cubicBezTo>
                          <a:pt x="496" y="620"/>
                          <a:pt x="496" y="620"/>
                          <a:pt x="496" y="620"/>
                        </a:cubicBezTo>
                        <a:cubicBezTo>
                          <a:pt x="496" y="520"/>
                          <a:pt x="496" y="520"/>
                          <a:pt x="496" y="520"/>
                        </a:cubicBezTo>
                        <a:cubicBezTo>
                          <a:pt x="496" y="331"/>
                          <a:pt x="496" y="331"/>
                          <a:pt x="496" y="331"/>
                        </a:cubicBezTo>
                        <a:cubicBezTo>
                          <a:pt x="496" y="244"/>
                          <a:pt x="496" y="244"/>
                          <a:pt x="496" y="244"/>
                        </a:cubicBezTo>
                        <a:cubicBezTo>
                          <a:pt x="496" y="119"/>
                          <a:pt x="496" y="119"/>
                          <a:pt x="496" y="119"/>
                        </a:cubicBezTo>
                        <a:cubicBezTo>
                          <a:pt x="496" y="78"/>
                          <a:pt x="462" y="44"/>
                          <a:pt x="420" y="44"/>
                        </a:cubicBezTo>
                        <a:cubicBezTo>
                          <a:pt x="379" y="44"/>
                          <a:pt x="345" y="78"/>
                          <a:pt x="345" y="119"/>
                        </a:cubicBezTo>
                        <a:cubicBezTo>
                          <a:pt x="345" y="244"/>
                          <a:pt x="345" y="244"/>
                          <a:pt x="345" y="244"/>
                        </a:cubicBezTo>
                        <a:cubicBezTo>
                          <a:pt x="345" y="332"/>
                          <a:pt x="345" y="332"/>
                          <a:pt x="345" y="332"/>
                        </a:cubicBezTo>
                        <a:cubicBezTo>
                          <a:pt x="345" y="837"/>
                          <a:pt x="345" y="837"/>
                          <a:pt x="345" y="837"/>
                        </a:cubicBezTo>
                        <a:cubicBezTo>
                          <a:pt x="345" y="847"/>
                          <a:pt x="339" y="855"/>
                          <a:pt x="330" y="858"/>
                        </a:cubicBezTo>
                        <a:cubicBezTo>
                          <a:pt x="321" y="861"/>
                          <a:pt x="311" y="857"/>
                          <a:pt x="305" y="850"/>
                        </a:cubicBezTo>
                        <a:cubicBezTo>
                          <a:pt x="193" y="690"/>
                          <a:pt x="193" y="690"/>
                          <a:pt x="193" y="690"/>
                        </a:cubicBezTo>
                        <a:cubicBezTo>
                          <a:pt x="171" y="658"/>
                          <a:pt x="127" y="649"/>
                          <a:pt x="94" y="670"/>
                        </a:cubicBezTo>
                        <a:cubicBezTo>
                          <a:pt x="61" y="690"/>
                          <a:pt x="49" y="733"/>
                          <a:pt x="68" y="767"/>
                        </a:cubicBezTo>
                        <a:cubicBezTo>
                          <a:pt x="310" y="1215"/>
                          <a:pt x="310" y="1215"/>
                          <a:pt x="310" y="1215"/>
                        </a:cubicBezTo>
                        <a:cubicBezTo>
                          <a:pt x="295" y="1220"/>
                          <a:pt x="283" y="1231"/>
                          <a:pt x="276" y="1244"/>
                        </a:cubicBezTo>
                        <a:cubicBezTo>
                          <a:pt x="29" y="788"/>
                          <a:pt x="29" y="788"/>
                          <a:pt x="29" y="788"/>
                        </a:cubicBezTo>
                        <a:cubicBezTo>
                          <a:pt x="0" y="733"/>
                          <a:pt x="18" y="665"/>
                          <a:pt x="72" y="632"/>
                        </a:cubicBezTo>
                        <a:cubicBezTo>
                          <a:pt x="124" y="600"/>
                          <a:pt x="193" y="614"/>
                          <a:pt x="229" y="665"/>
                        </a:cubicBezTo>
                        <a:cubicBezTo>
                          <a:pt x="301" y="768"/>
                          <a:pt x="301" y="768"/>
                          <a:pt x="301" y="768"/>
                        </a:cubicBezTo>
                        <a:cubicBezTo>
                          <a:pt x="301" y="307"/>
                          <a:pt x="301" y="307"/>
                          <a:pt x="301" y="307"/>
                        </a:cubicBezTo>
                        <a:cubicBezTo>
                          <a:pt x="301" y="224"/>
                          <a:pt x="301" y="224"/>
                          <a:pt x="301" y="224"/>
                        </a:cubicBezTo>
                        <a:cubicBezTo>
                          <a:pt x="301" y="119"/>
                          <a:pt x="301" y="119"/>
                          <a:pt x="301" y="119"/>
                        </a:cubicBezTo>
                        <a:cubicBezTo>
                          <a:pt x="301" y="54"/>
                          <a:pt x="355" y="0"/>
                          <a:pt x="420" y="0"/>
                        </a:cubicBezTo>
                        <a:cubicBezTo>
                          <a:pt x="486" y="0"/>
                          <a:pt x="539" y="54"/>
                          <a:pt x="539" y="119"/>
                        </a:cubicBezTo>
                        <a:cubicBezTo>
                          <a:pt x="539" y="223"/>
                          <a:pt x="539" y="223"/>
                          <a:pt x="539" y="223"/>
                        </a:cubicBezTo>
                        <a:cubicBezTo>
                          <a:pt x="539" y="306"/>
                          <a:pt x="539" y="306"/>
                          <a:pt x="539" y="306"/>
                        </a:cubicBezTo>
                        <a:cubicBezTo>
                          <a:pt x="539" y="428"/>
                          <a:pt x="539" y="428"/>
                          <a:pt x="539" y="428"/>
                        </a:cubicBezTo>
                        <a:cubicBezTo>
                          <a:pt x="560" y="411"/>
                          <a:pt x="586" y="401"/>
                          <a:pt x="615" y="401"/>
                        </a:cubicBezTo>
                        <a:cubicBezTo>
                          <a:pt x="670" y="401"/>
                          <a:pt x="716" y="438"/>
                          <a:pt x="730" y="489"/>
                        </a:cubicBezTo>
                        <a:cubicBezTo>
                          <a:pt x="751" y="470"/>
                          <a:pt x="779" y="458"/>
                          <a:pt x="809" y="458"/>
                        </a:cubicBezTo>
                        <a:cubicBezTo>
                          <a:pt x="861" y="458"/>
                          <a:pt x="906" y="492"/>
                          <a:pt x="922" y="539"/>
                        </a:cubicBezTo>
                        <a:cubicBezTo>
                          <a:pt x="941" y="522"/>
                          <a:pt x="966" y="512"/>
                          <a:pt x="993" y="512"/>
                        </a:cubicBezTo>
                        <a:cubicBezTo>
                          <a:pt x="1064" y="512"/>
                          <a:pt x="1123" y="571"/>
                          <a:pt x="1123" y="642"/>
                        </a:cubicBezTo>
                        <a:close/>
                        <a:moveTo>
                          <a:pt x="439" y="228"/>
                        </a:moveTo>
                        <a:cubicBezTo>
                          <a:pt x="438" y="227"/>
                          <a:pt x="436" y="227"/>
                          <a:pt x="435" y="226"/>
                        </a:cubicBezTo>
                        <a:cubicBezTo>
                          <a:pt x="434" y="225"/>
                          <a:pt x="433" y="224"/>
                          <a:pt x="432" y="223"/>
                        </a:cubicBezTo>
                        <a:cubicBezTo>
                          <a:pt x="429" y="220"/>
                          <a:pt x="424" y="219"/>
                          <a:pt x="420" y="220"/>
                        </a:cubicBezTo>
                        <a:cubicBezTo>
                          <a:pt x="417" y="220"/>
                          <a:pt x="415" y="221"/>
                          <a:pt x="413" y="222"/>
                        </a:cubicBezTo>
                        <a:cubicBezTo>
                          <a:pt x="408" y="226"/>
                          <a:pt x="399" y="233"/>
                          <a:pt x="399" y="233"/>
                        </a:cubicBezTo>
                        <a:cubicBezTo>
                          <a:pt x="399" y="233"/>
                          <a:pt x="396" y="234"/>
                          <a:pt x="396" y="237"/>
                        </a:cubicBezTo>
                        <a:cubicBezTo>
                          <a:pt x="396" y="238"/>
                          <a:pt x="396" y="239"/>
                          <a:pt x="397" y="241"/>
                        </a:cubicBezTo>
                        <a:cubicBezTo>
                          <a:pt x="398" y="242"/>
                          <a:pt x="399" y="243"/>
                          <a:pt x="400" y="243"/>
                        </a:cubicBezTo>
                        <a:cubicBezTo>
                          <a:pt x="402" y="243"/>
                          <a:pt x="404" y="241"/>
                          <a:pt x="405" y="240"/>
                        </a:cubicBezTo>
                        <a:cubicBezTo>
                          <a:pt x="419" y="232"/>
                          <a:pt x="419" y="232"/>
                          <a:pt x="419" y="232"/>
                        </a:cubicBezTo>
                        <a:cubicBezTo>
                          <a:pt x="421" y="231"/>
                          <a:pt x="423" y="231"/>
                          <a:pt x="425" y="231"/>
                        </a:cubicBezTo>
                        <a:cubicBezTo>
                          <a:pt x="426" y="232"/>
                          <a:pt x="426" y="232"/>
                          <a:pt x="426" y="232"/>
                        </a:cubicBezTo>
                        <a:cubicBezTo>
                          <a:pt x="428" y="233"/>
                          <a:pt x="430" y="235"/>
                          <a:pt x="432" y="236"/>
                        </a:cubicBezTo>
                        <a:cubicBezTo>
                          <a:pt x="433" y="239"/>
                          <a:pt x="437" y="239"/>
                          <a:pt x="438" y="237"/>
                        </a:cubicBezTo>
                        <a:cubicBezTo>
                          <a:pt x="439" y="236"/>
                          <a:pt x="440" y="235"/>
                          <a:pt x="440" y="234"/>
                        </a:cubicBezTo>
                        <a:cubicBezTo>
                          <a:pt x="440" y="233"/>
                          <a:pt x="440" y="232"/>
                          <a:pt x="439" y="230"/>
                        </a:cubicBezTo>
                        <a:cubicBezTo>
                          <a:pt x="439" y="228"/>
                          <a:pt x="439" y="228"/>
                          <a:pt x="439" y="228"/>
                        </a:cubicBezTo>
                        <a:close/>
                        <a:moveTo>
                          <a:pt x="449" y="218"/>
                        </a:moveTo>
                        <a:cubicBezTo>
                          <a:pt x="448" y="217"/>
                          <a:pt x="447" y="217"/>
                          <a:pt x="446" y="216"/>
                        </a:cubicBezTo>
                        <a:cubicBezTo>
                          <a:pt x="444" y="213"/>
                          <a:pt x="442" y="211"/>
                          <a:pt x="438" y="210"/>
                        </a:cubicBezTo>
                        <a:cubicBezTo>
                          <a:pt x="433" y="206"/>
                          <a:pt x="428" y="204"/>
                          <a:pt x="422" y="205"/>
                        </a:cubicBezTo>
                        <a:cubicBezTo>
                          <a:pt x="418" y="205"/>
                          <a:pt x="415" y="207"/>
                          <a:pt x="412" y="208"/>
                        </a:cubicBezTo>
                        <a:cubicBezTo>
                          <a:pt x="412" y="209"/>
                          <a:pt x="411" y="209"/>
                          <a:pt x="411" y="210"/>
                        </a:cubicBezTo>
                        <a:cubicBezTo>
                          <a:pt x="404" y="213"/>
                          <a:pt x="396" y="218"/>
                          <a:pt x="390" y="223"/>
                        </a:cubicBezTo>
                        <a:cubicBezTo>
                          <a:pt x="388" y="224"/>
                          <a:pt x="387" y="225"/>
                          <a:pt x="387" y="227"/>
                        </a:cubicBezTo>
                        <a:cubicBezTo>
                          <a:pt x="387" y="228"/>
                          <a:pt x="387" y="230"/>
                          <a:pt x="388" y="231"/>
                        </a:cubicBezTo>
                        <a:cubicBezTo>
                          <a:pt x="390" y="232"/>
                          <a:pt x="391" y="232"/>
                          <a:pt x="392" y="232"/>
                        </a:cubicBezTo>
                        <a:cubicBezTo>
                          <a:pt x="395" y="232"/>
                          <a:pt x="395" y="232"/>
                          <a:pt x="395" y="232"/>
                        </a:cubicBezTo>
                        <a:cubicBezTo>
                          <a:pt x="395" y="231"/>
                          <a:pt x="395" y="231"/>
                          <a:pt x="395" y="231"/>
                        </a:cubicBezTo>
                        <a:cubicBezTo>
                          <a:pt x="402" y="225"/>
                          <a:pt x="409" y="221"/>
                          <a:pt x="416" y="217"/>
                        </a:cubicBezTo>
                        <a:cubicBezTo>
                          <a:pt x="417" y="217"/>
                          <a:pt x="417" y="217"/>
                          <a:pt x="417" y="217"/>
                        </a:cubicBezTo>
                        <a:cubicBezTo>
                          <a:pt x="418" y="216"/>
                          <a:pt x="418" y="216"/>
                          <a:pt x="418" y="216"/>
                        </a:cubicBezTo>
                        <a:cubicBezTo>
                          <a:pt x="420" y="215"/>
                          <a:pt x="421" y="214"/>
                          <a:pt x="423" y="214"/>
                        </a:cubicBezTo>
                        <a:cubicBezTo>
                          <a:pt x="424" y="214"/>
                          <a:pt x="424" y="214"/>
                          <a:pt x="424" y="214"/>
                        </a:cubicBezTo>
                        <a:cubicBezTo>
                          <a:pt x="426" y="213"/>
                          <a:pt x="431" y="215"/>
                          <a:pt x="433" y="216"/>
                        </a:cubicBezTo>
                        <a:cubicBezTo>
                          <a:pt x="436" y="219"/>
                          <a:pt x="439" y="222"/>
                          <a:pt x="442" y="225"/>
                        </a:cubicBezTo>
                        <a:cubicBezTo>
                          <a:pt x="443" y="226"/>
                          <a:pt x="445" y="227"/>
                          <a:pt x="445" y="227"/>
                        </a:cubicBezTo>
                        <a:cubicBezTo>
                          <a:pt x="446" y="227"/>
                          <a:pt x="448" y="226"/>
                          <a:pt x="449" y="225"/>
                        </a:cubicBezTo>
                        <a:cubicBezTo>
                          <a:pt x="450" y="224"/>
                          <a:pt x="451" y="222"/>
                          <a:pt x="450" y="221"/>
                        </a:cubicBezTo>
                        <a:cubicBezTo>
                          <a:pt x="450" y="220"/>
                          <a:pt x="450" y="219"/>
                          <a:pt x="449" y="218"/>
                        </a:cubicBezTo>
                        <a:close/>
                        <a:moveTo>
                          <a:pt x="462" y="203"/>
                        </a:moveTo>
                        <a:cubicBezTo>
                          <a:pt x="458" y="198"/>
                          <a:pt x="453" y="192"/>
                          <a:pt x="446" y="188"/>
                        </a:cubicBezTo>
                        <a:cubicBezTo>
                          <a:pt x="439" y="184"/>
                          <a:pt x="429" y="182"/>
                          <a:pt x="423" y="183"/>
                        </a:cubicBezTo>
                        <a:cubicBezTo>
                          <a:pt x="417" y="183"/>
                          <a:pt x="413" y="185"/>
                          <a:pt x="409" y="187"/>
                        </a:cubicBezTo>
                        <a:cubicBezTo>
                          <a:pt x="408" y="188"/>
                          <a:pt x="408" y="188"/>
                          <a:pt x="408" y="188"/>
                        </a:cubicBezTo>
                        <a:cubicBezTo>
                          <a:pt x="407" y="188"/>
                          <a:pt x="407" y="188"/>
                          <a:pt x="407" y="188"/>
                        </a:cubicBezTo>
                        <a:cubicBezTo>
                          <a:pt x="396" y="194"/>
                          <a:pt x="386" y="201"/>
                          <a:pt x="374" y="211"/>
                        </a:cubicBezTo>
                        <a:cubicBezTo>
                          <a:pt x="373" y="212"/>
                          <a:pt x="372" y="214"/>
                          <a:pt x="372" y="216"/>
                        </a:cubicBezTo>
                        <a:cubicBezTo>
                          <a:pt x="372" y="216"/>
                          <a:pt x="373" y="217"/>
                          <a:pt x="373" y="218"/>
                        </a:cubicBezTo>
                        <a:cubicBezTo>
                          <a:pt x="374" y="219"/>
                          <a:pt x="375" y="219"/>
                          <a:pt x="377" y="219"/>
                        </a:cubicBezTo>
                        <a:cubicBezTo>
                          <a:pt x="379" y="219"/>
                          <a:pt x="379" y="219"/>
                          <a:pt x="379" y="219"/>
                        </a:cubicBezTo>
                        <a:cubicBezTo>
                          <a:pt x="380" y="219"/>
                          <a:pt x="380" y="219"/>
                          <a:pt x="380" y="219"/>
                        </a:cubicBezTo>
                        <a:cubicBezTo>
                          <a:pt x="390" y="210"/>
                          <a:pt x="411" y="196"/>
                          <a:pt x="412" y="196"/>
                        </a:cubicBezTo>
                        <a:cubicBezTo>
                          <a:pt x="413" y="195"/>
                          <a:pt x="413" y="195"/>
                          <a:pt x="413" y="195"/>
                        </a:cubicBezTo>
                        <a:cubicBezTo>
                          <a:pt x="415" y="194"/>
                          <a:pt x="420" y="192"/>
                          <a:pt x="423" y="191"/>
                        </a:cubicBezTo>
                        <a:cubicBezTo>
                          <a:pt x="429" y="191"/>
                          <a:pt x="437" y="193"/>
                          <a:pt x="441" y="196"/>
                        </a:cubicBezTo>
                        <a:cubicBezTo>
                          <a:pt x="445" y="199"/>
                          <a:pt x="448" y="202"/>
                          <a:pt x="452" y="206"/>
                        </a:cubicBezTo>
                        <a:cubicBezTo>
                          <a:pt x="453" y="207"/>
                          <a:pt x="455" y="209"/>
                          <a:pt x="456" y="210"/>
                        </a:cubicBezTo>
                        <a:cubicBezTo>
                          <a:pt x="457" y="211"/>
                          <a:pt x="458" y="211"/>
                          <a:pt x="458" y="211"/>
                        </a:cubicBezTo>
                        <a:cubicBezTo>
                          <a:pt x="459" y="211"/>
                          <a:pt x="460" y="211"/>
                          <a:pt x="461" y="210"/>
                        </a:cubicBezTo>
                        <a:cubicBezTo>
                          <a:pt x="464" y="207"/>
                          <a:pt x="464" y="204"/>
                          <a:pt x="462" y="203"/>
                        </a:cubicBezTo>
                        <a:close/>
                        <a:moveTo>
                          <a:pt x="370" y="186"/>
                        </a:moveTo>
                        <a:cubicBezTo>
                          <a:pt x="399" y="173"/>
                          <a:pt x="419" y="152"/>
                          <a:pt x="436" y="135"/>
                        </a:cubicBezTo>
                        <a:cubicBezTo>
                          <a:pt x="438" y="134"/>
                          <a:pt x="438" y="131"/>
                          <a:pt x="436" y="129"/>
                        </a:cubicBezTo>
                        <a:cubicBezTo>
                          <a:pt x="436" y="128"/>
                          <a:pt x="436" y="128"/>
                          <a:pt x="436" y="128"/>
                        </a:cubicBezTo>
                        <a:cubicBezTo>
                          <a:pt x="435" y="127"/>
                          <a:pt x="434" y="127"/>
                          <a:pt x="432" y="127"/>
                        </a:cubicBezTo>
                        <a:cubicBezTo>
                          <a:pt x="431" y="128"/>
                          <a:pt x="430" y="128"/>
                          <a:pt x="429" y="129"/>
                        </a:cubicBezTo>
                        <a:cubicBezTo>
                          <a:pt x="425" y="133"/>
                          <a:pt x="425" y="133"/>
                          <a:pt x="425" y="133"/>
                        </a:cubicBezTo>
                        <a:cubicBezTo>
                          <a:pt x="409" y="149"/>
                          <a:pt x="391" y="167"/>
                          <a:pt x="366" y="177"/>
                        </a:cubicBezTo>
                        <a:cubicBezTo>
                          <a:pt x="365" y="178"/>
                          <a:pt x="365" y="178"/>
                          <a:pt x="365" y="178"/>
                        </a:cubicBezTo>
                        <a:cubicBezTo>
                          <a:pt x="364" y="179"/>
                          <a:pt x="363" y="180"/>
                          <a:pt x="363" y="182"/>
                        </a:cubicBezTo>
                        <a:cubicBezTo>
                          <a:pt x="363" y="182"/>
                          <a:pt x="363" y="183"/>
                          <a:pt x="364" y="183"/>
                        </a:cubicBezTo>
                        <a:cubicBezTo>
                          <a:pt x="364" y="186"/>
                          <a:pt x="367" y="186"/>
                          <a:pt x="368" y="186"/>
                        </a:cubicBezTo>
                        <a:cubicBezTo>
                          <a:pt x="369" y="186"/>
                          <a:pt x="369" y="186"/>
                          <a:pt x="369" y="186"/>
                        </a:cubicBezTo>
                        <a:lnTo>
                          <a:pt x="370" y="186"/>
                        </a:lnTo>
                        <a:close/>
                        <a:moveTo>
                          <a:pt x="374" y="204"/>
                        </a:moveTo>
                        <a:cubicBezTo>
                          <a:pt x="375" y="204"/>
                          <a:pt x="376" y="204"/>
                          <a:pt x="376" y="203"/>
                        </a:cubicBezTo>
                        <a:cubicBezTo>
                          <a:pt x="417" y="177"/>
                          <a:pt x="417" y="177"/>
                          <a:pt x="417" y="177"/>
                        </a:cubicBezTo>
                        <a:cubicBezTo>
                          <a:pt x="426" y="171"/>
                          <a:pt x="435" y="165"/>
                          <a:pt x="443" y="157"/>
                        </a:cubicBezTo>
                        <a:cubicBezTo>
                          <a:pt x="451" y="147"/>
                          <a:pt x="456" y="135"/>
                          <a:pt x="455" y="124"/>
                        </a:cubicBezTo>
                        <a:cubicBezTo>
                          <a:pt x="454" y="120"/>
                          <a:pt x="453" y="116"/>
                          <a:pt x="451" y="114"/>
                        </a:cubicBezTo>
                        <a:cubicBezTo>
                          <a:pt x="446" y="108"/>
                          <a:pt x="438" y="107"/>
                          <a:pt x="435" y="107"/>
                        </a:cubicBezTo>
                        <a:cubicBezTo>
                          <a:pt x="419" y="108"/>
                          <a:pt x="405" y="122"/>
                          <a:pt x="396" y="132"/>
                        </a:cubicBezTo>
                        <a:cubicBezTo>
                          <a:pt x="395" y="133"/>
                          <a:pt x="395" y="133"/>
                          <a:pt x="395" y="133"/>
                        </a:cubicBezTo>
                        <a:cubicBezTo>
                          <a:pt x="387" y="142"/>
                          <a:pt x="377" y="152"/>
                          <a:pt x="365" y="155"/>
                        </a:cubicBezTo>
                        <a:cubicBezTo>
                          <a:pt x="363" y="155"/>
                          <a:pt x="361" y="157"/>
                          <a:pt x="361" y="160"/>
                        </a:cubicBezTo>
                        <a:cubicBezTo>
                          <a:pt x="361" y="161"/>
                          <a:pt x="361" y="161"/>
                          <a:pt x="361" y="161"/>
                        </a:cubicBezTo>
                        <a:cubicBezTo>
                          <a:pt x="362" y="163"/>
                          <a:pt x="365" y="165"/>
                          <a:pt x="367" y="165"/>
                        </a:cubicBezTo>
                        <a:cubicBezTo>
                          <a:pt x="382" y="162"/>
                          <a:pt x="393" y="151"/>
                          <a:pt x="403" y="139"/>
                        </a:cubicBezTo>
                        <a:cubicBezTo>
                          <a:pt x="404" y="139"/>
                          <a:pt x="404" y="139"/>
                          <a:pt x="404" y="139"/>
                        </a:cubicBezTo>
                        <a:cubicBezTo>
                          <a:pt x="411" y="130"/>
                          <a:pt x="422" y="118"/>
                          <a:pt x="435" y="118"/>
                        </a:cubicBezTo>
                        <a:cubicBezTo>
                          <a:pt x="437" y="118"/>
                          <a:pt x="442" y="118"/>
                          <a:pt x="444" y="120"/>
                        </a:cubicBezTo>
                        <a:cubicBezTo>
                          <a:pt x="444" y="122"/>
                          <a:pt x="445" y="123"/>
                          <a:pt x="445" y="125"/>
                        </a:cubicBezTo>
                        <a:cubicBezTo>
                          <a:pt x="446" y="133"/>
                          <a:pt x="442" y="142"/>
                          <a:pt x="435" y="150"/>
                        </a:cubicBezTo>
                        <a:cubicBezTo>
                          <a:pt x="430" y="157"/>
                          <a:pt x="422" y="162"/>
                          <a:pt x="414" y="166"/>
                        </a:cubicBezTo>
                        <a:cubicBezTo>
                          <a:pt x="371" y="194"/>
                          <a:pt x="371" y="194"/>
                          <a:pt x="371" y="194"/>
                        </a:cubicBezTo>
                        <a:cubicBezTo>
                          <a:pt x="371" y="195"/>
                          <a:pt x="371" y="195"/>
                          <a:pt x="371" y="195"/>
                        </a:cubicBezTo>
                        <a:cubicBezTo>
                          <a:pt x="369" y="196"/>
                          <a:pt x="368" y="199"/>
                          <a:pt x="370" y="201"/>
                        </a:cubicBezTo>
                        <a:cubicBezTo>
                          <a:pt x="370" y="202"/>
                          <a:pt x="370" y="202"/>
                          <a:pt x="370" y="202"/>
                        </a:cubicBezTo>
                        <a:cubicBezTo>
                          <a:pt x="371" y="203"/>
                          <a:pt x="372" y="204"/>
                          <a:pt x="374" y="204"/>
                        </a:cubicBezTo>
                        <a:close/>
                        <a:moveTo>
                          <a:pt x="366" y="146"/>
                        </a:moveTo>
                        <a:cubicBezTo>
                          <a:pt x="368" y="146"/>
                          <a:pt x="368" y="146"/>
                          <a:pt x="368" y="146"/>
                        </a:cubicBezTo>
                        <a:cubicBezTo>
                          <a:pt x="374" y="143"/>
                          <a:pt x="379" y="140"/>
                          <a:pt x="383" y="137"/>
                        </a:cubicBezTo>
                        <a:cubicBezTo>
                          <a:pt x="384" y="136"/>
                          <a:pt x="384" y="136"/>
                          <a:pt x="384" y="136"/>
                        </a:cubicBezTo>
                        <a:cubicBezTo>
                          <a:pt x="385" y="135"/>
                          <a:pt x="386" y="134"/>
                          <a:pt x="387" y="132"/>
                        </a:cubicBezTo>
                        <a:cubicBezTo>
                          <a:pt x="388" y="131"/>
                          <a:pt x="389" y="130"/>
                          <a:pt x="390" y="129"/>
                        </a:cubicBezTo>
                        <a:cubicBezTo>
                          <a:pt x="392" y="127"/>
                          <a:pt x="394" y="125"/>
                          <a:pt x="396" y="123"/>
                        </a:cubicBezTo>
                        <a:cubicBezTo>
                          <a:pt x="398" y="120"/>
                          <a:pt x="400" y="118"/>
                          <a:pt x="402" y="116"/>
                        </a:cubicBezTo>
                        <a:cubicBezTo>
                          <a:pt x="410" y="109"/>
                          <a:pt x="425" y="102"/>
                          <a:pt x="438" y="104"/>
                        </a:cubicBezTo>
                        <a:cubicBezTo>
                          <a:pt x="439" y="104"/>
                          <a:pt x="441" y="103"/>
                          <a:pt x="442" y="100"/>
                        </a:cubicBezTo>
                        <a:cubicBezTo>
                          <a:pt x="442" y="99"/>
                          <a:pt x="442" y="99"/>
                          <a:pt x="442" y="99"/>
                        </a:cubicBezTo>
                        <a:cubicBezTo>
                          <a:pt x="442" y="96"/>
                          <a:pt x="441" y="94"/>
                          <a:pt x="438" y="94"/>
                        </a:cubicBezTo>
                        <a:cubicBezTo>
                          <a:pt x="420" y="91"/>
                          <a:pt x="403" y="102"/>
                          <a:pt x="396" y="109"/>
                        </a:cubicBezTo>
                        <a:cubicBezTo>
                          <a:pt x="391" y="113"/>
                          <a:pt x="386" y="118"/>
                          <a:pt x="383" y="122"/>
                        </a:cubicBezTo>
                        <a:cubicBezTo>
                          <a:pt x="380" y="125"/>
                          <a:pt x="378" y="126"/>
                          <a:pt x="377" y="129"/>
                        </a:cubicBezTo>
                        <a:cubicBezTo>
                          <a:pt x="373" y="132"/>
                          <a:pt x="370" y="135"/>
                          <a:pt x="364" y="138"/>
                        </a:cubicBezTo>
                        <a:cubicBezTo>
                          <a:pt x="363" y="138"/>
                          <a:pt x="362" y="139"/>
                          <a:pt x="362" y="140"/>
                        </a:cubicBezTo>
                        <a:cubicBezTo>
                          <a:pt x="361" y="141"/>
                          <a:pt x="361" y="142"/>
                          <a:pt x="362" y="143"/>
                        </a:cubicBezTo>
                        <a:cubicBezTo>
                          <a:pt x="362" y="146"/>
                          <a:pt x="365" y="146"/>
                          <a:pt x="366" y="146"/>
                        </a:cubicBezTo>
                        <a:close/>
                        <a:moveTo>
                          <a:pt x="435" y="76"/>
                        </a:moveTo>
                        <a:cubicBezTo>
                          <a:pt x="427" y="74"/>
                          <a:pt x="418" y="75"/>
                          <a:pt x="407" y="78"/>
                        </a:cubicBezTo>
                        <a:cubicBezTo>
                          <a:pt x="387" y="86"/>
                          <a:pt x="370" y="102"/>
                          <a:pt x="360" y="120"/>
                        </a:cubicBezTo>
                        <a:cubicBezTo>
                          <a:pt x="359" y="123"/>
                          <a:pt x="360" y="125"/>
                          <a:pt x="361" y="127"/>
                        </a:cubicBezTo>
                        <a:cubicBezTo>
                          <a:pt x="362" y="127"/>
                          <a:pt x="362" y="127"/>
                          <a:pt x="362" y="127"/>
                        </a:cubicBezTo>
                        <a:cubicBezTo>
                          <a:pt x="364" y="129"/>
                          <a:pt x="367" y="128"/>
                          <a:pt x="368" y="126"/>
                        </a:cubicBezTo>
                        <a:cubicBezTo>
                          <a:pt x="369" y="126"/>
                          <a:pt x="369" y="126"/>
                          <a:pt x="369" y="126"/>
                        </a:cubicBezTo>
                        <a:cubicBezTo>
                          <a:pt x="377" y="109"/>
                          <a:pt x="393" y="95"/>
                          <a:pt x="411" y="88"/>
                        </a:cubicBezTo>
                        <a:cubicBezTo>
                          <a:pt x="420" y="85"/>
                          <a:pt x="427" y="84"/>
                          <a:pt x="434" y="86"/>
                        </a:cubicBezTo>
                        <a:cubicBezTo>
                          <a:pt x="442" y="87"/>
                          <a:pt x="452" y="95"/>
                          <a:pt x="458" y="105"/>
                        </a:cubicBezTo>
                        <a:cubicBezTo>
                          <a:pt x="463" y="114"/>
                          <a:pt x="468" y="132"/>
                          <a:pt x="470" y="150"/>
                        </a:cubicBezTo>
                        <a:cubicBezTo>
                          <a:pt x="470" y="153"/>
                          <a:pt x="472" y="155"/>
                          <a:pt x="474" y="155"/>
                        </a:cubicBezTo>
                        <a:cubicBezTo>
                          <a:pt x="475" y="155"/>
                          <a:pt x="475" y="155"/>
                          <a:pt x="475" y="155"/>
                        </a:cubicBezTo>
                        <a:cubicBezTo>
                          <a:pt x="477" y="155"/>
                          <a:pt x="480" y="152"/>
                          <a:pt x="480" y="149"/>
                        </a:cubicBezTo>
                        <a:cubicBezTo>
                          <a:pt x="478" y="130"/>
                          <a:pt x="473" y="110"/>
                          <a:pt x="467" y="100"/>
                        </a:cubicBezTo>
                        <a:cubicBezTo>
                          <a:pt x="459" y="87"/>
                          <a:pt x="448" y="78"/>
                          <a:pt x="435" y="76"/>
                        </a:cubicBezTo>
                        <a:close/>
                      </a:path>
                    </a:pathLst>
                  </a:custGeom>
                  <a:solidFill>
                    <a:srgbClr val="EAB818"/>
                  </a:solidFill>
                  <a:ln w="9525" cap="flat" cmpd="sng" algn="ctr">
                    <a:solidFill>
                      <a:srgbClr val="EAB81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4289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85783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028675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371566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714457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057348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400240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743132" algn="l" defTabSz="685783" rtl="0" eaLnBrk="1" latinLnBrk="0" hangingPunct="1">
                      <a:defRPr sz="135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fr-FR" sz="1013">
                      <a:latin typeface="Montserrat" panose="00000500000000000000" pitchFamily="2" charset="0"/>
                    </a:endParaRPr>
                  </a:p>
                </p:txBody>
              </p:sp>
            </p:grpSp>
          </p:grpSp>
        </p:grp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7FFB20F5-8C1C-CC05-69B4-28074FEC4C0D}"/>
                </a:ext>
              </a:extLst>
            </p:cNvPr>
            <p:cNvCxnSpPr>
              <a:cxnSpLocks/>
            </p:cNvCxnSpPr>
            <p:nvPr/>
          </p:nvCxnSpPr>
          <p:spPr>
            <a:xfrm>
              <a:off x="7765973" y="3257894"/>
              <a:ext cx="3042703" cy="0"/>
            </a:xfrm>
            <a:prstGeom prst="line">
              <a:avLst/>
            </a:prstGeom>
            <a:ln w="6350" cap="sq" cmpd="sng" algn="ctr">
              <a:solidFill>
                <a:srgbClr val="F08050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916E6A88-8BBE-92A5-1967-72636959ED20}"/>
                </a:ext>
              </a:extLst>
            </p:cNvPr>
            <p:cNvSpPr txBox="1"/>
            <p:nvPr/>
          </p:nvSpPr>
          <p:spPr>
            <a:xfrm>
              <a:off x="7022105" y="3526746"/>
              <a:ext cx="4530438" cy="201593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5796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Leverage the best solutions on the market for cloud, AI, and big data innovation topics</a:t>
              </a:r>
            </a:p>
            <a:p>
              <a:pPr marL="145796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Benefit from state-of-the-art functionality</a:t>
              </a:r>
              <a:endParaRPr lang="en-US"/>
            </a:p>
            <a:p>
              <a:pPr marL="145796" lvl="1" indent="-97198">
                <a:spcBef>
                  <a:spcPts val="450"/>
                </a:spcBef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Benefit in particular from the rapid pace of innovation of hyperscalers as well as from their robustness (i.e. 99.999% availability)</a:t>
              </a: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Service diversification</a:t>
              </a:r>
            </a:p>
            <a:p>
              <a:pPr marL="270000" lvl="1" indent="-97198">
                <a:buClr>
                  <a:srgbClr val="581D74"/>
                </a:buClr>
                <a:buFont typeface="Trebuchet MS" panose="020B0603020202020204" pitchFamily="34" charset="0"/>
                <a:buChar char="•"/>
              </a:pPr>
              <a:r>
                <a:rPr lang="fr-FR" sz="900">
                  <a:solidFill>
                    <a:srgbClr val="000000"/>
                  </a:solidFill>
                  <a:latin typeface="Montserrat" panose="00000500000000000000" pitchFamily="2" charset="0"/>
                </a:rPr>
                <a:t>Frequent delivery of new services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000C8FD5-1AFB-2C6D-7960-36F8DB02A759}"/>
              </a:ext>
            </a:extLst>
          </p:cNvPr>
          <p:cNvGrpSpPr>
            <a:grpSpLocks noChangeAspect="1"/>
          </p:cNvGrpSpPr>
          <p:nvPr/>
        </p:nvGrpSpPr>
        <p:grpSpPr>
          <a:xfrm>
            <a:off x="5290135" y="3301669"/>
            <a:ext cx="118283" cy="118283"/>
            <a:chOff x="982662" y="1847850"/>
            <a:chExt cx="269875" cy="269875"/>
          </a:xfrm>
        </p:grpSpPr>
        <p:sp>
          <p:nvSpPr>
            <p:cNvPr id="123" name="Oval 50">
              <a:extLst>
                <a:ext uri="{FF2B5EF4-FFF2-40B4-BE49-F238E27FC236}">
                  <a16:creationId xmlns:a16="http://schemas.microsoft.com/office/drawing/2014/main" id="{E7CF881D-4058-2334-E4D9-583476F12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124" name="Freeform 51">
              <a:extLst>
                <a:ext uri="{FF2B5EF4-FFF2-40B4-BE49-F238E27FC236}">
                  <a16:creationId xmlns:a16="http://schemas.microsoft.com/office/drawing/2014/main" id="{D6E9071A-70F1-70D8-C1E3-DABAD0FE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7954B27-EC84-DFC4-E10D-F8EA78F2C62E}"/>
              </a:ext>
            </a:extLst>
          </p:cNvPr>
          <p:cNvGrpSpPr>
            <a:grpSpLocks noChangeAspect="1"/>
          </p:cNvGrpSpPr>
          <p:nvPr/>
        </p:nvGrpSpPr>
        <p:grpSpPr>
          <a:xfrm>
            <a:off x="611062" y="2432651"/>
            <a:ext cx="118283" cy="118283"/>
            <a:chOff x="982662" y="1847850"/>
            <a:chExt cx="269875" cy="269875"/>
          </a:xfrm>
        </p:grpSpPr>
        <p:sp>
          <p:nvSpPr>
            <p:cNvPr id="135" name="Oval 50">
              <a:extLst>
                <a:ext uri="{FF2B5EF4-FFF2-40B4-BE49-F238E27FC236}">
                  <a16:creationId xmlns:a16="http://schemas.microsoft.com/office/drawing/2014/main" id="{E6CCB36C-5D0E-2AC4-A22F-79E6E2907E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F0805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136" name="Freeform 51">
              <a:extLst>
                <a:ext uri="{FF2B5EF4-FFF2-40B4-BE49-F238E27FC236}">
                  <a16:creationId xmlns:a16="http://schemas.microsoft.com/office/drawing/2014/main" id="{0C6B4596-6094-BE3D-3ABF-B3660F774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7EC2711-AD90-C895-A1F7-ABA73A590B0E}"/>
              </a:ext>
            </a:extLst>
          </p:cNvPr>
          <p:cNvGrpSpPr>
            <a:grpSpLocks noChangeAspect="1"/>
          </p:cNvGrpSpPr>
          <p:nvPr/>
        </p:nvGrpSpPr>
        <p:grpSpPr>
          <a:xfrm>
            <a:off x="611062" y="3139808"/>
            <a:ext cx="118283" cy="118283"/>
            <a:chOff x="982662" y="1847850"/>
            <a:chExt cx="269875" cy="269875"/>
          </a:xfrm>
        </p:grpSpPr>
        <p:sp>
          <p:nvSpPr>
            <p:cNvPr id="138" name="Oval 50">
              <a:extLst>
                <a:ext uri="{FF2B5EF4-FFF2-40B4-BE49-F238E27FC236}">
                  <a16:creationId xmlns:a16="http://schemas.microsoft.com/office/drawing/2014/main" id="{CF3D90A3-B3C2-68A3-5AA7-A29A5FCC8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F0805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139" name="Freeform 51">
              <a:extLst>
                <a:ext uri="{FF2B5EF4-FFF2-40B4-BE49-F238E27FC236}">
                  <a16:creationId xmlns:a16="http://schemas.microsoft.com/office/drawing/2014/main" id="{60F40362-FE8D-0D7A-0769-3714FDC00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6784AA9-0EAF-CDA0-047D-6CCE8441E8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1" imgH="363" progId="TCLayout.ActiveDocument.1">
                  <p:embed/>
                </p:oleObj>
              </mc:Choice>
              <mc:Fallback>
                <p:oleObj name="think-cell Slide" r:id="rId10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784AA9-0EAF-CDA0-047D-6CCE8441E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1287801-789C-F5A9-B6AA-13DE6A911149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4571014" y="1547912"/>
            <a:ext cx="1" cy="2601537"/>
          </a:xfrm>
          <a:prstGeom prst="line">
            <a:avLst/>
          </a:prstGeom>
          <a:ln w="19050" cap="rnd" cmpd="sng" algn="ctr">
            <a:solidFill>
              <a:srgbClr val="581D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D2C13C0-1C47-FD96-0D3C-7BD41ED1F54C}"/>
              </a:ext>
            </a:extLst>
          </p:cNvPr>
          <p:cNvGrpSpPr/>
          <p:nvPr/>
        </p:nvGrpSpPr>
        <p:grpSpPr>
          <a:xfrm>
            <a:off x="4370628" y="2542031"/>
            <a:ext cx="400772" cy="400772"/>
            <a:chOff x="5772711" y="3105711"/>
            <a:chExt cx="646578" cy="64657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30FCE97-2BBF-BF4F-4322-1A894D7940F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772711" y="3105711"/>
              <a:ext cx="646578" cy="646578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tx2"/>
                  </a:gs>
                  <a:gs pos="100000">
                    <a:schemeClr val="tx2">
                      <a:lumMod val="50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5000"/>
                </a:lnSpc>
              </a:pPr>
              <a:endParaRPr lang="en-US" sz="12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15" name="bcgBugs_Scales Balance ">
              <a:extLst>
                <a:ext uri="{FF2B5EF4-FFF2-40B4-BE49-F238E27FC236}">
                  <a16:creationId xmlns:a16="http://schemas.microsoft.com/office/drawing/2014/main" id="{5A4D8C0D-EB49-2F34-D80A-9774E2A522C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67400" y="3200400"/>
              <a:ext cx="457200" cy="457200"/>
              <a:chOff x="230" y="1413"/>
              <a:chExt cx="2375" cy="2375"/>
            </a:xfrm>
          </p:grpSpPr>
          <p:sp>
            <p:nvSpPr>
              <p:cNvPr id="16" name="AutoShape 3">
                <a:extLst>
                  <a:ext uri="{FF2B5EF4-FFF2-40B4-BE49-F238E27FC236}">
                    <a16:creationId xmlns:a16="http://schemas.microsoft.com/office/drawing/2014/main" id="{2930B816-EC2D-69E4-CEE7-C9BD8BBF10C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9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783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675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566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457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348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4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13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/>
              </a:p>
            </p:txBody>
          </p:sp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542F0E43-31EF-BECC-8834-78CBB54EC0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89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783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675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566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457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348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40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132" algn="l" defTabSz="685783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/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692480F-804A-4446-CAB9-11D08A602CFA}"/>
              </a:ext>
            </a:extLst>
          </p:cNvPr>
          <p:cNvGrpSpPr/>
          <p:nvPr/>
        </p:nvGrpSpPr>
        <p:grpSpPr>
          <a:xfrm>
            <a:off x="4380715" y="4149449"/>
            <a:ext cx="380599" cy="150734"/>
            <a:chOff x="10415016" y="5769864"/>
            <a:chExt cx="1060704" cy="261108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7E309E3D-B9C2-F495-8495-8A74E9C7D798}"/>
                </a:ext>
              </a:extLst>
            </p:cNvPr>
            <p:cNvSpPr/>
            <p:nvPr/>
          </p:nvSpPr>
          <p:spPr>
            <a:xfrm rot="10800000">
              <a:off x="10415016" y="5769864"/>
              <a:ext cx="1060704" cy="201168"/>
            </a:xfrm>
            <a:prstGeom prst="triangle">
              <a:avLst/>
            </a:prstGeom>
            <a:solidFill>
              <a:srgbClr val="581D74"/>
            </a:solidFill>
            <a:ln w="9525" cap="rnd" cmpd="sng" algn="ctr">
              <a:solidFill>
                <a:srgbClr val="581D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noProof="0">
                <a:solidFill>
                  <a:srgbClr val="FFFFFF"/>
                </a:solidFill>
              </a:endParaRP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5558E47C-4B15-0644-4504-9EAC801BC214}"/>
                </a:ext>
              </a:extLst>
            </p:cNvPr>
            <p:cNvSpPr/>
            <p:nvPr/>
          </p:nvSpPr>
          <p:spPr>
            <a:xfrm rot="10800000">
              <a:off x="10415016" y="5829804"/>
              <a:ext cx="1060704" cy="201168"/>
            </a:xfrm>
            <a:prstGeom prst="triangle">
              <a:avLst/>
            </a:prstGeom>
            <a:solidFill>
              <a:srgbClr val="F08050"/>
            </a:solidFill>
            <a:ln w="9525" cap="rnd" cmpd="sng" algn="ctr">
              <a:solidFill>
                <a:srgbClr val="F0805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noProof="0">
                <a:solidFill>
                  <a:srgbClr val="FFFFFF"/>
                </a:solidFill>
              </a:endParaRPr>
            </a:p>
          </p:txBody>
        </p:sp>
      </p:grpSp>
      <p:sp>
        <p:nvSpPr>
          <p:cNvPr id="7" name="Rectangle: Rounded Corners 23">
            <a:extLst>
              <a:ext uri="{FF2B5EF4-FFF2-40B4-BE49-F238E27FC236}">
                <a16:creationId xmlns:a16="http://schemas.microsoft.com/office/drawing/2014/main" id="{8A860201-CF40-1EC1-81C8-FEB1A6338D19}"/>
              </a:ext>
            </a:extLst>
          </p:cNvPr>
          <p:cNvSpPr/>
          <p:nvPr/>
        </p:nvSpPr>
        <p:spPr>
          <a:xfrm>
            <a:off x="1029126" y="4458953"/>
            <a:ext cx="7080275" cy="263239"/>
          </a:xfrm>
          <a:prstGeom prst="roundRect">
            <a:avLst/>
          </a:prstGeom>
          <a:solidFill>
            <a:schemeClr val="bg1"/>
          </a:solidFill>
          <a:ln w="2857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>
                <a:solidFill>
                  <a:srgbClr val="581D74"/>
                </a:solidFill>
                <a:latin typeface="Montserrat" panose="00000500000000000000" pitchFamily="2" charset="0"/>
              </a:rPr>
              <a:t>Need to assess mitigation scenarios </a:t>
            </a:r>
            <a:r>
              <a:rPr lang="en-US" sz="900">
                <a:solidFill>
                  <a:srgbClr val="581D74"/>
                </a:solidFill>
                <a:latin typeface="Montserrat" panose="00000500000000000000" pitchFamily="2" charset="0"/>
              </a:rPr>
              <a:t>(costs, timelines, complexity, new risks generated)</a:t>
            </a:r>
            <a:r>
              <a:rPr lang="en-US" sz="900" b="1">
                <a:solidFill>
                  <a:srgbClr val="581D74"/>
                </a:solidFill>
                <a:latin typeface="Montserrat" panose="00000500000000000000" pitchFamily="2" charset="0"/>
              </a:rPr>
              <a:t> for each solution to inform decisions in light of the level of projected risk and the desired autonomy</a:t>
            </a:r>
          </a:p>
        </p:txBody>
      </p:sp>
      <p:grpSp>
        <p:nvGrpSpPr>
          <p:cNvPr id="5" name="Group 136">
            <a:extLst>
              <a:ext uri="{FF2B5EF4-FFF2-40B4-BE49-F238E27FC236}">
                <a16:creationId xmlns:a16="http://schemas.microsoft.com/office/drawing/2014/main" id="{5BCE9799-073E-0EB5-5F61-B8DF9690A767}"/>
              </a:ext>
            </a:extLst>
          </p:cNvPr>
          <p:cNvGrpSpPr>
            <a:grpSpLocks noChangeAspect="1"/>
          </p:cNvGrpSpPr>
          <p:nvPr/>
        </p:nvGrpSpPr>
        <p:grpSpPr>
          <a:xfrm>
            <a:off x="616975" y="2821645"/>
            <a:ext cx="118283" cy="118283"/>
            <a:chOff x="982662" y="1847850"/>
            <a:chExt cx="269875" cy="269875"/>
          </a:xfrm>
        </p:grpSpPr>
        <p:sp>
          <p:nvSpPr>
            <p:cNvPr id="6" name="Oval 50">
              <a:extLst>
                <a:ext uri="{FF2B5EF4-FFF2-40B4-BE49-F238E27FC236}">
                  <a16:creationId xmlns:a16="http://schemas.microsoft.com/office/drawing/2014/main" id="{E448A335-3546-F005-E2E3-21E4483DC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F0805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8" name="Freeform 51">
              <a:extLst>
                <a:ext uri="{FF2B5EF4-FFF2-40B4-BE49-F238E27FC236}">
                  <a16:creationId xmlns:a16="http://schemas.microsoft.com/office/drawing/2014/main" id="{A4227584-CF80-8DD5-7BEA-8F0ACBCFE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89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5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8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2" algn="l" defTabSz="685783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393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259B9512-673E-12D3-7B70-345F4B54EFD6}"/>
              </a:ext>
            </a:extLst>
          </p:cNvPr>
          <p:cNvSpPr/>
          <p:nvPr/>
        </p:nvSpPr>
        <p:spPr>
          <a:xfrm>
            <a:off x="304725" y="865794"/>
            <a:ext cx="4112931" cy="3940934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013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07FBCD-3D7B-4FF6-C2F7-3F94BFC91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572" y="130392"/>
            <a:ext cx="7704856" cy="337362"/>
          </a:xfrm>
        </p:spPr>
        <p:txBody>
          <a:bodyPr vert="horz" lIns="0" tIns="45720" rIns="0" bIns="45720" rtlCol="0" anchor="t" anchorCtr="0">
            <a:noAutofit/>
          </a:bodyPr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fr-FR" sz="1400">
                <a:latin typeface="Montserrat ExtraBold" pitchFamily="2" charset="77"/>
                <a:cs typeface="Arial" panose="020B0604020202020204" pitchFamily="34" charset="0"/>
              </a:rPr>
              <a:t>Options to strengthen autonomy to be considered on a case-by-case basis and that can build on a strong internal foundation</a:t>
            </a:r>
            <a:endParaRPr lang="en-US" sz="1400" b="1" cap="all">
              <a:latin typeface="Montserrat ExtraBold" pitchFamily="2" charset="77"/>
              <a:cs typeface="Arial" panose="020B0604020202020204" pitchFamily="34" charset="0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9F90CF2-D3C1-03D9-FFCE-43D12D0F7F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fr-FR"/>
              <a:t>Open Source is one of the relevant levers for strengthening our strategic autonomy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id="{79D4CB3B-AF5F-ADD1-48B8-ABBBBAEC7DF5}"/>
              </a:ext>
            </a:extLst>
          </p:cNvPr>
          <p:cNvSpPr/>
          <p:nvPr/>
        </p:nvSpPr>
        <p:spPr>
          <a:xfrm>
            <a:off x="479716" y="982082"/>
            <a:ext cx="3810840" cy="42523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A strong foundation for our autonomy that has already enabled us to emerge from </a:t>
            </a:r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situations </a:t>
            </a:r>
            <a:r>
              <a:rPr lang="fr-FR" sz="1500" b="1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of dependency</a:t>
            </a:r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…</a:t>
            </a:r>
            <a:endParaRPr lang="fr-FR" sz="1500" b="1" noProof="0">
              <a:solidFill>
                <a:schemeClr val="tx2"/>
              </a:solidFill>
              <a:latin typeface="Geomanist Regular" panose="02000503000000020004" pitchFamily="50" charset="0"/>
            </a:endParaRPr>
          </a:p>
        </p:txBody>
      </p:sp>
      <p:sp>
        <p:nvSpPr>
          <p:cNvPr id="8" name="Text 4">
            <a:extLst>
              <a:ext uri="{FF2B5EF4-FFF2-40B4-BE49-F238E27FC236}">
                <a16:creationId xmlns:a16="http://schemas.microsoft.com/office/drawing/2014/main" id="{0D38C45B-F880-E778-CABF-3323BEB20993}"/>
              </a:ext>
            </a:extLst>
          </p:cNvPr>
          <p:cNvSpPr/>
          <p:nvPr/>
        </p:nvSpPr>
        <p:spPr>
          <a:xfrm>
            <a:off x="1383217" y="1790167"/>
            <a:ext cx="2983335" cy="396459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25"/>
              </a:lnSpc>
            </a:pPr>
            <a:r>
              <a:rPr lang="fr-FR" sz="1500">
                <a:latin typeface="Geomanist Regular"/>
                <a:ea typeface="Montserrat Semi Bold"/>
                <a:cs typeface="Montserrat Semi Bold" pitchFamily="34" charset="-120"/>
              </a:rPr>
              <a:t>Our own </a:t>
            </a:r>
            <a:r>
              <a:rPr lang="fr-FR" sz="1500" b="1" noProof="0">
                <a:latin typeface="Geomanist Regular"/>
                <a:ea typeface="Montserrat Semi Bold"/>
                <a:cs typeface="Montserrat Semi Bold" pitchFamily="34" charset="-120"/>
              </a:rPr>
              <a:t>Datacenters</a:t>
            </a:r>
            <a:r>
              <a:rPr lang="fr-FR" sz="1500" b="1">
                <a:latin typeface="Geomanist Regular"/>
                <a:ea typeface="Montserrat Semi Bold"/>
                <a:cs typeface="Montserrat Semi Bold" pitchFamily="34" charset="-120"/>
              </a:rPr>
              <a:t> </a:t>
            </a:r>
            <a:endParaRPr lang="fr-FR" sz="1500" b="1">
              <a:latin typeface="Geomanist Regular" panose="02000503000000020004" pitchFamily="50" charset="0"/>
              <a:ea typeface="Montserrat Semi Bold" pitchFamily="34" charset="-122"/>
              <a:cs typeface="Montserrat Semi Bold" pitchFamily="34" charset="-120"/>
            </a:endParaRPr>
          </a:p>
          <a:p>
            <a:pPr>
              <a:lnSpc>
                <a:spcPts val="2025"/>
              </a:lnSpc>
            </a:pPr>
            <a:r>
              <a:rPr lang="fr-FR" sz="1200" i="1">
                <a:latin typeface="Geomanist Regular"/>
                <a:ea typeface="Montserrat Semi Bold"/>
                <a:cs typeface="Montserrat Semi Bold" pitchFamily="34" charset="-120"/>
              </a:rPr>
              <a:t>(4 BPCE-IT centers, 7,500 m²)</a:t>
            </a:r>
            <a:endParaRPr lang="fr-FR" sz="1200" i="1">
              <a:latin typeface="Geomanist Regular" panose="02000503000000020004" pitchFamily="50" charset="0"/>
              <a:ea typeface="Montserrat Semi Bold" pitchFamily="34" charset="-122"/>
              <a:cs typeface="Montserrat Semi Bold" pitchFamily="34" charset="-120"/>
            </a:endParaRPr>
          </a:p>
          <a:p>
            <a:pPr>
              <a:lnSpc>
                <a:spcPts val="2025"/>
              </a:lnSpc>
            </a:pPr>
            <a:r>
              <a:rPr lang="fr-FR" sz="1500">
                <a:solidFill>
                  <a:srgbClr val="000000"/>
                </a:solidFill>
                <a:latin typeface="Geomanist Regular"/>
                <a:ea typeface="Montserrat Semi Bold"/>
                <a:cs typeface="Montserrat Semi Bold" pitchFamily="34" charset="-120"/>
              </a:rPr>
              <a:t>and our</a:t>
            </a:r>
            <a:r>
              <a:rPr lang="fr-FR" sz="1500">
                <a:latin typeface="Geomanist Regular"/>
                <a:ea typeface="Montserrat Semi Bold"/>
                <a:cs typeface="Montserrat Semi Bold" pitchFamily="34" charset="-120"/>
              </a:rPr>
              <a:t> private Cloud</a:t>
            </a:r>
            <a:endParaRPr lang="fr-FR" sz="900"/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F4D58D3F-5D03-AF1C-63B9-F2C5A2101484}"/>
              </a:ext>
            </a:extLst>
          </p:cNvPr>
          <p:cNvSpPr/>
          <p:nvPr/>
        </p:nvSpPr>
        <p:spPr>
          <a:xfrm>
            <a:off x="1367207" y="2443973"/>
            <a:ext cx="2107997" cy="7130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Host more than 80% of our applications,</a:t>
            </a:r>
            <a:endParaRPr lang="fr-FR" sz="1200" noProof="0">
              <a:latin typeface="Geomanist Regular" panose="02000503000000020004" pitchFamily="50" charset="0"/>
              <a:ea typeface="Montserrat Semi Bold" pitchFamily="34" charset="-122"/>
              <a:cs typeface="Montserrat Semi Bold" pitchFamily="34" charset="-120"/>
            </a:endParaRPr>
          </a:p>
          <a:p>
            <a:r>
              <a:rPr lang="fr-FR" sz="1200">
                <a:solidFill>
                  <a:srgbClr val="000000"/>
                </a:solidFill>
                <a:latin typeface="Geomanist Regular"/>
                <a:ea typeface="Montserrat Semi Bold"/>
                <a:cs typeface="Montserrat Semi Bold" pitchFamily="34" charset="-120"/>
              </a:rPr>
              <a:t>including </a:t>
            </a:r>
            <a:r>
              <a:rPr lang="fr-FR" sz="1200">
                <a:latin typeface="Geomanist Regular"/>
                <a:ea typeface="Montserrat Semi Bold"/>
                <a:cs typeface="Montserrat Semi Bold" pitchFamily="34" charset="-120"/>
              </a:rPr>
              <a:t>our</a:t>
            </a:r>
            <a:r>
              <a:rPr lang="fr-FR" sz="1200" noProof="0">
                <a:latin typeface="Geomanist Regular"/>
                <a:ea typeface="Montserrat Semi Bold"/>
                <a:cs typeface="Montserrat Semi Bold" pitchFamily="34" charset="-120"/>
              </a:rPr>
              <a:t> </a:t>
            </a:r>
            <a:r>
              <a:rPr lang="fr-FR" sz="1200" noProof="0" err="1">
                <a:latin typeface="Geomanist Regular"/>
                <a:ea typeface="Montserrat Semi Bold"/>
                <a:cs typeface="Montserrat Semi Bold" pitchFamily="34" charset="-120"/>
              </a:rPr>
              <a:t>Core</a:t>
            </a:r>
            <a:r>
              <a:rPr lang="fr-FR" sz="1200" noProof="0">
                <a:latin typeface="Geomanist Regular"/>
                <a:ea typeface="Montserrat Semi Bold"/>
                <a:cs typeface="Montserrat Semi Bold" pitchFamily="34" charset="-120"/>
              </a:rPr>
              <a:t> Banking </a:t>
            </a:r>
            <a:r>
              <a:rPr lang="fr-FR" sz="1200" noProof="0" err="1">
                <a:latin typeface="Geomanist Regular"/>
                <a:ea typeface="Montserrat Semi Bold"/>
                <a:cs typeface="Montserrat Semi Bold" pitchFamily="34" charset="-120"/>
              </a:rPr>
              <a:t>Systems</a:t>
            </a:r>
            <a:endParaRPr lang="fr-FR" sz="1200" noProof="0">
              <a:latin typeface="Geomanist Regular"/>
              <a:ea typeface="Montserrat Semi Bold"/>
              <a:cs typeface="Montserrat Semi Bold" pitchFamily="34" charset="-120"/>
            </a:endParaRPr>
          </a:p>
        </p:txBody>
      </p:sp>
      <p:pic>
        <p:nvPicPr>
          <p:cNvPr id="10" name="Graphique 9" descr="Groupe avec un remplissage uni">
            <a:extLst>
              <a:ext uri="{FF2B5EF4-FFF2-40B4-BE49-F238E27FC236}">
                <a16:creationId xmlns:a16="http://schemas.microsoft.com/office/drawing/2014/main" id="{900D68F2-0EDC-DFD9-3378-FA0042E9A2A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285" y="3523072"/>
            <a:ext cx="595814" cy="595814"/>
          </a:xfrm>
          <a:prstGeom prst="rect">
            <a:avLst/>
          </a:prstGeom>
        </p:spPr>
      </p:pic>
      <p:pic>
        <p:nvPicPr>
          <p:cNvPr id="11" name="Graphique 10" descr="Informatique hébergé avec un remplissage uni">
            <a:extLst>
              <a:ext uri="{FF2B5EF4-FFF2-40B4-BE49-F238E27FC236}">
                <a16:creationId xmlns:a16="http://schemas.microsoft.com/office/drawing/2014/main" id="{5076AF5E-6C2E-14DD-96B1-BF0F115B440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286" y="1612908"/>
            <a:ext cx="646804" cy="646804"/>
          </a:xfrm>
          <a:prstGeom prst="rect">
            <a:avLst/>
          </a:prstGeom>
        </p:spPr>
      </p:pic>
      <p:sp>
        <p:nvSpPr>
          <p:cNvPr id="12" name="Text 4">
            <a:extLst>
              <a:ext uri="{FF2B5EF4-FFF2-40B4-BE49-F238E27FC236}">
                <a16:creationId xmlns:a16="http://schemas.microsoft.com/office/drawing/2014/main" id="{C34EE2F3-437A-50A1-4FA7-9A1151BDCD85}"/>
              </a:ext>
            </a:extLst>
          </p:cNvPr>
          <p:cNvSpPr/>
          <p:nvPr/>
        </p:nvSpPr>
        <p:spPr>
          <a:xfrm>
            <a:off x="1383217" y="3643625"/>
            <a:ext cx="2861499" cy="396459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25"/>
              </a:lnSpc>
            </a:pPr>
            <a:r>
              <a:rPr lang="fr-FR" sz="150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The skills and</a:t>
            </a:r>
            <a:endParaRPr lang="fr-FR" sz="1500" noProof="0">
              <a:latin typeface="Geomanist Regular" panose="02000503000000020004" pitchFamily="50" charset="0"/>
              <a:ea typeface="Montserrat Semi Bold" pitchFamily="34" charset="-122"/>
              <a:cs typeface="Montserrat Semi Bold" pitchFamily="34" charset="-120"/>
            </a:endParaRPr>
          </a:p>
          <a:p>
            <a:pPr>
              <a:lnSpc>
                <a:spcPts val="2025"/>
              </a:lnSpc>
            </a:pPr>
            <a:r>
              <a:rPr lang="fr-FR" sz="1500" b="1">
                <a:solidFill>
                  <a:srgbClr val="000000"/>
                </a:solidFill>
                <a:latin typeface="Geomanist Regular"/>
                <a:ea typeface="Montserrat Semi Bold" pitchFamily="34" charset="-122"/>
                <a:cs typeface="Montserrat Semi Bold" pitchFamily="34" charset="-120"/>
              </a:rPr>
              <a:t>expertise</a:t>
            </a:r>
            <a:r>
              <a:rPr lang="fr-FR" sz="150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 within the Group’s </a:t>
            </a:r>
            <a:r>
              <a:rPr lang="fr-FR" sz="1500" noProof="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IT</a:t>
            </a:r>
          </a:p>
        </p:txBody>
      </p:sp>
      <p:sp>
        <p:nvSpPr>
          <p:cNvPr id="13" name="Text 6">
            <a:extLst>
              <a:ext uri="{FF2B5EF4-FFF2-40B4-BE49-F238E27FC236}">
                <a16:creationId xmlns:a16="http://schemas.microsoft.com/office/drawing/2014/main" id="{F7AC5286-C5CA-3B5D-14FA-1AB2C0ECFCA3}"/>
              </a:ext>
            </a:extLst>
          </p:cNvPr>
          <p:cNvSpPr/>
          <p:nvPr/>
        </p:nvSpPr>
        <p:spPr>
          <a:xfrm>
            <a:off x="1383216" y="4118886"/>
            <a:ext cx="2861499" cy="4239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&gt; 10,000 internal FTEs + 6,500 external staff</a:t>
            </a:r>
          </a:p>
          <a:p>
            <a:r>
              <a:rPr lang="fr-FR" sz="1200"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covering all Tech professions</a:t>
            </a:r>
          </a:p>
        </p:txBody>
      </p:sp>
      <p:pic>
        <p:nvPicPr>
          <p:cNvPr id="14" name="Graphique 13" descr="Ligne fléchée : incurvée dans le sens des aiguilles d’une montre avec un remplissage uni">
            <a:extLst>
              <a:ext uri="{FF2B5EF4-FFF2-40B4-BE49-F238E27FC236}">
                <a16:creationId xmlns:a16="http://schemas.microsoft.com/office/drawing/2014/main" id="{76A88AB3-EB81-FBFC-F64A-BDE4EF01BA3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8704863">
            <a:off x="1344123" y="2848630"/>
            <a:ext cx="402989" cy="402989"/>
          </a:xfrm>
          <a:prstGeom prst="rect">
            <a:avLst/>
          </a:prstGeom>
        </p:spPr>
      </p:pic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1595C9-60D4-4AF5-2CAD-7010B0C7AB84}"/>
              </a:ext>
            </a:extLst>
          </p:cNvPr>
          <p:cNvSpPr/>
          <p:nvPr/>
        </p:nvSpPr>
        <p:spPr>
          <a:xfrm>
            <a:off x="1786019" y="3015128"/>
            <a:ext cx="1365185" cy="32502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900" b="1">
                <a:latin typeface="Geomanist Regular" panose="02000503000000020004" pitchFamily="50" charset="0"/>
                <a:ea typeface="Montserrat Semi Bold" pitchFamily="34" charset="-122"/>
              </a:rPr>
              <a:t>our secure source customer data</a:t>
            </a:r>
            <a:endParaRPr lang="fr-FR" sz="900" b="1">
              <a:solidFill>
                <a:schemeClr val="tx1"/>
              </a:solidFill>
            </a:endParaRPr>
          </a:p>
        </p:txBody>
      </p:sp>
      <p:pic>
        <p:nvPicPr>
          <p:cNvPr id="18" name="Graphique 17" descr="Binaire avec un remplissage uni">
            <a:extLst>
              <a:ext uri="{FF2B5EF4-FFF2-40B4-BE49-F238E27FC236}">
                <a16:creationId xmlns:a16="http://schemas.microsoft.com/office/drawing/2014/main" id="{2FBD9319-F7F1-9845-983F-AB1CDC14DB9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30918" y="3322274"/>
            <a:ext cx="331000" cy="331000"/>
          </a:xfrm>
          <a:prstGeom prst="rect">
            <a:avLst/>
          </a:prstGeom>
        </p:spPr>
      </p:pic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CCE92A82-4800-0535-49CE-BADBBC05E93B}"/>
              </a:ext>
            </a:extLst>
          </p:cNvPr>
          <p:cNvSpPr/>
          <p:nvPr/>
        </p:nvSpPr>
        <p:spPr>
          <a:xfrm>
            <a:off x="4790026" y="863072"/>
            <a:ext cx="4112931" cy="3940934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013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191E265-7D25-7ADA-7C83-AB0EECB7E120}"/>
              </a:ext>
            </a:extLst>
          </p:cNvPr>
          <p:cNvSpPr txBox="1"/>
          <p:nvPr/>
        </p:nvSpPr>
        <p:spPr>
          <a:xfrm>
            <a:off x="5770830" y="1743487"/>
            <a:ext cx="3183723" cy="20774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fr-FR" sz="1500" b="1" dirty="0">
                <a:solidFill>
                  <a:prstClr val="black"/>
                </a:solidFill>
                <a:latin typeface="Geomanist Regular" panose="02000503000000020004" pitchFamily="50" charset="0"/>
              </a:rPr>
              <a:t>Software</a:t>
            </a:r>
            <a:r>
              <a:rPr lang="fr-FR" sz="1500" b="1" dirty="0">
                <a:solidFill>
                  <a:prstClr val="black"/>
                </a:solidFill>
                <a:latin typeface="Geomanist Regular"/>
              </a:rPr>
              <a:t> </a:t>
            </a:r>
            <a:r>
              <a:rPr lang="fr-FR" sz="1500" b="1" dirty="0" err="1">
                <a:solidFill>
                  <a:prstClr val="black"/>
                </a:solidFill>
                <a:latin typeface="Geomanist Regular"/>
              </a:rPr>
              <a:t>sourcing</a:t>
            </a:r>
            <a:r>
              <a:rPr lang="fr-FR" sz="1500" b="1" dirty="0">
                <a:solidFill>
                  <a:prstClr val="black"/>
                </a:solidFill>
                <a:latin typeface="Geomanist Regular"/>
              </a:rPr>
              <a:t> </a:t>
            </a:r>
            <a:r>
              <a:rPr lang="fr-FR" sz="1500" b="1" dirty="0" err="1">
                <a:solidFill>
                  <a:prstClr val="black"/>
                </a:solidFill>
                <a:latin typeface="Geomanist Regular"/>
              </a:rPr>
              <a:t>choices</a:t>
            </a:r>
            <a:endParaRPr kumimoji="0" lang="fr-FR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manist Regular" panose="02000503000000020004" pitchFamily="50" charset="0"/>
              <a:ea typeface="+mn-ea"/>
              <a:cs typeface="+mn-cs"/>
            </a:endParaRPr>
          </a:p>
          <a:p>
            <a:pPr defTabSz="685800">
              <a:defRPr/>
            </a:pPr>
            <a:r>
              <a:rPr lang="fr-FR" sz="1050" dirty="0">
                <a:solidFill>
                  <a:srgbClr val="000000"/>
                </a:solidFill>
                <a:latin typeface="Geomanist Regular"/>
              </a:rPr>
              <a:t>In-house</a:t>
            </a:r>
            <a:r>
              <a:rPr lang="fr-FR" sz="1050" dirty="0">
                <a:solidFill>
                  <a:prstClr val="black"/>
                </a:solidFill>
                <a:latin typeface="Geomanist Regular"/>
              </a:rPr>
              <a:t> </a:t>
            </a:r>
            <a:r>
              <a:rPr lang="fr-FR" sz="1050" dirty="0" err="1">
                <a:solidFill>
                  <a:prstClr val="black"/>
                </a:solidFill>
                <a:latin typeface="Geomanist Regular"/>
              </a:rPr>
              <a:t>developments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manist Regular"/>
              </a:rPr>
              <a:t>,</a:t>
            </a:r>
            <a:r>
              <a:rPr lang="fr-FR" sz="1050" dirty="0">
                <a:solidFill>
                  <a:prstClr val="black"/>
                </a:solidFill>
                <a:latin typeface="Geomanist Regular"/>
              </a:rPr>
              <a:t> “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manist Regular"/>
              </a:rPr>
              <a:t>Open Source</a:t>
            </a:r>
            <a:r>
              <a:rPr lang="fr-FR" sz="1050" dirty="0">
                <a:solidFill>
                  <a:prstClr val="black"/>
                </a:solidFill>
                <a:latin typeface="Geomanist Regular"/>
              </a:rPr>
              <a:t>” solutions, </a:t>
            </a:r>
            <a:r>
              <a:rPr lang="fr-FR" sz="1050" dirty="0" err="1">
                <a:solidFill>
                  <a:prstClr val="black"/>
                </a:solidFill>
                <a:latin typeface="Geomanist Regular"/>
              </a:rPr>
              <a:t>European</a:t>
            </a:r>
            <a:r>
              <a:rPr lang="fr-FR" sz="1050" dirty="0">
                <a:solidFill>
                  <a:srgbClr val="000000"/>
                </a:solidFill>
                <a:latin typeface="Geomanist Regular"/>
              </a:rPr>
              <a:t> </a:t>
            </a:r>
            <a:r>
              <a:rPr lang="fr-FR" sz="1050" dirty="0" err="1">
                <a:latin typeface="Geomanist Regular" panose="02000503000000020004" pitchFamily="50" charset="0"/>
              </a:rPr>
              <a:t>market</a:t>
            </a:r>
            <a:r>
              <a:rPr lang="fr-FR" sz="1050" dirty="0">
                <a:latin typeface="Geomanist Regular" panose="02000503000000020004" pitchFamily="50" charset="0"/>
              </a:rPr>
              <a:t>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manist Regular"/>
              </a:rPr>
              <a:t>solutions,</a:t>
            </a:r>
            <a:br>
              <a:rPr lang="fr-FR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manist Regular" panose="02000503000000020004" pitchFamily="50" charset="0"/>
              </a:rPr>
            </a:b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manist Regular"/>
              </a:rPr>
              <a:t>multi-</a:t>
            </a:r>
            <a:r>
              <a:rPr kumimoji="0" lang="fr-FR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manist Regular"/>
              </a:rPr>
              <a:t>sourcing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manist Regular"/>
            </a:endParaRPr>
          </a:p>
          <a:p>
            <a:r>
              <a:rPr lang="fr-FR" sz="1500" b="1" dirty="0" err="1">
                <a:solidFill>
                  <a:srgbClr val="000000"/>
                </a:solidFill>
                <a:latin typeface="Geomanist Regular" panose="02000503000000020004" pitchFamily="50" charset="0"/>
              </a:rPr>
              <a:t>Hosting</a:t>
            </a:r>
            <a:r>
              <a:rPr lang="fr-FR" sz="1500" b="1" dirty="0">
                <a:solidFill>
                  <a:srgbClr val="000000"/>
                </a:solidFill>
                <a:latin typeface="Geomanist Regular" panose="02000503000000020004" pitchFamily="50" charset="0"/>
              </a:rPr>
              <a:t> conditions</a:t>
            </a:r>
            <a:endParaRPr lang="en-US" dirty="0">
              <a:effectLst/>
            </a:endParaRPr>
          </a:p>
          <a:p>
            <a:r>
              <a:rPr lang="fr-FR" sz="1050" dirty="0">
                <a:effectLst/>
                <a:latin typeface="Geomanist Regular"/>
              </a:rPr>
              <a:t>BPCE</a:t>
            </a:r>
            <a:r>
              <a:rPr lang="fr-FR" sz="1050" dirty="0">
                <a:latin typeface="Geomanist Regular"/>
              </a:rPr>
              <a:t> Datacenters</a:t>
            </a:r>
            <a:r>
              <a:rPr lang="fr-FR" sz="1050" dirty="0">
                <a:effectLst/>
                <a:latin typeface="Geomanist Regular"/>
              </a:rPr>
              <a:t>,</a:t>
            </a:r>
            <a:br>
              <a:rPr lang="fr-FR" sz="1050" dirty="0">
                <a:effectLst/>
                <a:latin typeface="Geomanist Regular" panose="02000503000000020004" pitchFamily="50" charset="0"/>
              </a:rPr>
            </a:br>
            <a:r>
              <a:rPr lang="fr-FR" sz="1050" dirty="0" err="1">
                <a:latin typeface="Geomanist Regular"/>
              </a:rPr>
              <a:t>offers</a:t>
            </a:r>
            <a:r>
              <a:rPr lang="fr-FR" sz="1050" dirty="0">
                <a:latin typeface="Geomanist Regular"/>
              </a:rPr>
              <a:t> </a:t>
            </a:r>
            <a:r>
              <a:rPr lang="fr-FR" sz="1050" dirty="0" err="1">
                <a:latin typeface="Geomanist Regular"/>
              </a:rPr>
              <a:t>qualified</a:t>
            </a:r>
            <a:r>
              <a:rPr lang="fr-FR" sz="1050" dirty="0">
                <a:latin typeface="Geomanist Regular"/>
              </a:rPr>
              <a:t> as “</a:t>
            </a:r>
            <a:r>
              <a:rPr lang="fr-FR" sz="1050" dirty="0" err="1">
                <a:effectLst/>
                <a:latin typeface="Geomanist Regular"/>
              </a:rPr>
              <a:t>SecNumCloud</a:t>
            </a:r>
            <a:r>
              <a:rPr lang="fr-FR" sz="1050" dirty="0">
                <a:effectLst/>
                <a:latin typeface="Geomanist Regular"/>
              </a:rPr>
              <a:t> </a:t>
            </a:r>
            <a:r>
              <a:rPr lang="fr-FR" sz="1050" dirty="0">
                <a:latin typeface="Geomanist Regular"/>
              </a:rPr>
              <a:t>” by ANSSI</a:t>
            </a:r>
            <a:r>
              <a:rPr lang="fr-FR" sz="1050" dirty="0">
                <a:effectLst/>
                <a:latin typeface="Geomanist Regular"/>
              </a:rPr>
              <a:t>,</a:t>
            </a:r>
            <a:br>
              <a:rPr lang="fr-FR" sz="1050" dirty="0">
                <a:effectLst/>
                <a:latin typeface="Geomanist Regular" panose="02000503000000020004" pitchFamily="50" charset="0"/>
              </a:rPr>
            </a:br>
            <a:r>
              <a:rPr lang="fr-FR" sz="1050" dirty="0" err="1">
                <a:latin typeface="Geomanist Regular"/>
              </a:rPr>
              <a:t>European</a:t>
            </a:r>
            <a:r>
              <a:rPr lang="fr-FR" sz="1050" dirty="0">
                <a:latin typeface="Geomanist Regular"/>
              </a:rPr>
              <a:t> </a:t>
            </a:r>
            <a:r>
              <a:rPr lang="fr-FR" sz="1050" dirty="0">
                <a:effectLst/>
                <a:latin typeface="Geomanist Regular"/>
              </a:rPr>
              <a:t>Cloud, </a:t>
            </a:r>
            <a:r>
              <a:rPr lang="fr-FR" sz="1050" dirty="0" err="1">
                <a:latin typeface="Geomanist Regular"/>
              </a:rPr>
              <a:t>trusted</a:t>
            </a:r>
            <a:r>
              <a:rPr lang="fr-FR" sz="1050" dirty="0">
                <a:latin typeface="Geomanist Regular"/>
              </a:rPr>
              <a:t> Cloud</a:t>
            </a:r>
          </a:p>
          <a:p>
            <a:r>
              <a:rPr lang="fr-FR" sz="1500" b="1" dirty="0">
                <a:solidFill>
                  <a:srgbClr val="000000"/>
                </a:solidFill>
                <a:latin typeface="Geomanist Regular"/>
              </a:rPr>
              <a:t>Level of </a:t>
            </a:r>
            <a:r>
              <a:rPr lang="fr-FR" sz="1500" b="1" dirty="0" err="1">
                <a:solidFill>
                  <a:srgbClr val="000000"/>
                </a:solidFill>
                <a:latin typeface="Geomanist Regular"/>
              </a:rPr>
              <a:t>coverage</a:t>
            </a:r>
            <a:endParaRPr lang="en-US" dirty="0"/>
          </a:p>
          <a:p>
            <a:r>
              <a:rPr lang="fr-FR" sz="1050" b="1" dirty="0">
                <a:solidFill>
                  <a:srgbClr val="000000"/>
                </a:solidFill>
                <a:latin typeface="Geomanist Regular"/>
              </a:rPr>
              <a:t>Full replacement</a:t>
            </a:r>
            <a:r>
              <a:rPr lang="fr-FR" sz="1050" dirty="0">
                <a:effectLst/>
                <a:latin typeface="Geomanist Regular" panose="02000503000000020004" pitchFamily="50" charset="0"/>
              </a:rPr>
              <a:t>, </a:t>
            </a:r>
            <a:r>
              <a:rPr lang="fr-FR" sz="1050" dirty="0" err="1">
                <a:latin typeface="Geomanist Regular" panose="02000503000000020004" pitchFamily="50" charset="0"/>
              </a:rPr>
              <a:t>dependency</a:t>
            </a:r>
            <a:r>
              <a:rPr lang="fr-FR" sz="1050" dirty="0">
                <a:latin typeface="Geomanist Regular" panose="02000503000000020004" pitchFamily="50" charset="0"/>
              </a:rPr>
              <a:t> </a:t>
            </a:r>
            <a:r>
              <a:rPr lang="fr-FR" sz="1050" dirty="0" err="1">
                <a:latin typeface="Geomanist Regular" panose="02000503000000020004" pitchFamily="50" charset="0"/>
              </a:rPr>
              <a:t>reduction</a:t>
            </a:r>
            <a:r>
              <a:rPr lang="fr-FR" sz="1050" dirty="0">
                <a:latin typeface="Geomanist Regular" panose="02000503000000020004" pitchFamily="50" charset="0"/>
              </a:rPr>
              <a:t>, </a:t>
            </a:r>
            <a:r>
              <a:rPr lang="fr-FR" sz="1050" dirty="0" err="1">
                <a:latin typeface="Geomanist Regular" panose="02000503000000020004" pitchFamily="50" charset="0"/>
              </a:rPr>
              <a:t>reversibility</a:t>
            </a:r>
            <a:r>
              <a:rPr lang="fr-FR" sz="1050" dirty="0">
                <a:latin typeface="Geomanist Regular" panose="02000503000000020004" pitchFamily="50" charset="0"/>
              </a:rPr>
              <a:t> </a:t>
            </a:r>
            <a:r>
              <a:rPr lang="fr-FR" sz="1050" dirty="0">
                <a:effectLst/>
                <a:latin typeface="Geomanist Regular" panose="02000503000000020004" pitchFamily="50" charset="0"/>
              </a:rPr>
              <a:t>plan, </a:t>
            </a:r>
            <a:r>
              <a:rPr lang="fr-FR" sz="1050" dirty="0" err="1">
                <a:latin typeface="Geomanist Regular" panose="02000503000000020004" pitchFamily="50" charset="0"/>
              </a:rPr>
              <a:t>crisis</a:t>
            </a:r>
            <a:r>
              <a:rPr lang="fr-FR" sz="1050" dirty="0">
                <a:latin typeface="Geomanist Regular" panose="02000503000000020004" pitchFamily="50" charset="0"/>
              </a:rPr>
              <a:t> </a:t>
            </a:r>
            <a:r>
              <a:rPr lang="fr-FR" sz="1050" dirty="0">
                <a:effectLst/>
                <a:latin typeface="Geomanist Regular" panose="02000503000000020004" pitchFamily="50" charset="0"/>
              </a:rPr>
              <a:t>plan</a:t>
            </a:r>
            <a:endParaRPr lang="fr-FR" sz="1050" dirty="0">
              <a:latin typeface="Geomanist Regular" panose="02000503000000020004" pitchFamily="50" charset="0"/>
            </a:endParaRPr>
          </a:p>
        </p:txBody>
      </p:sp>
      <p:pic>
        <p:nvPicPr>
          <p:cNvPr id="22" name="Graphique 21" descr="Informatique hébergé avec un remplissage uni">
            <a:extLst>
              <a:ext uri="{FF2B5EF4-FFF2-40B4-BE49-F238E27FC236}">
                <a16:creationId xmlns:a16="http://schemas.microsoft.com/office/drawing/2014/main" id="{B6C2558A-CC3F-F009-C228-3380FD2817D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39862" y="2964660"/>
            <a:ext cx="502895" cy="502895"/>
          </a:xfrm>
          <a:prstGeom prst="rect">
            <a:avLst/>
          </a:prstGeom>
        </p:spPr>
      </p:pic>
      <p:pic>
        <p:nvPicPr>
          <p:cNvPr id="23" name="Graphique 22" descr="Outils avec un remplissage uni">
            <a:extLst>
              <a:ext uri="{FF2B5EF4-FFF2-40B4-BE49-F238E27FC236}">
                <a16:creationId xmlns:a16="http://schemas.microsoft.com/office/drawing/2014/main" id="{9ED75321-7FAE-7039-948E-5AB37462F7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42241" y="1952032"/>
            <a:ext cx="401354" cy="401354"/>
          </a:xfrm>
          <a:prstGeom prst="rect">
            <a:avLst/>
          </a:prstGeom>
        </p:spPr>
      </p:pic>
      <p:pic>
        <p:nvPicPr>
          <p:cNvPr id="24" name="Graphique 23" descr="Ampoule et crayon avec un remplissage uni">
            <a:extLst>
              <a:ext uri="{FF2B5EF4-FFF2-40B4-BE49-F238E27FC236}">
                <a16:creationId xmlns:a16="http://schemas.microsoft.com/office/drawing/2014/main" id="{AEFA2941-2431-0870-B4BA-6FA447DDF2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39862" y="4053340"/>
            <a:ext cx="502895" cy="502895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ED01B08-FDFD-9B1A-7DF0-71B744F24E17}"/>
              </a:ext>
            </a:extLst>
          </p:cNvPr>
          <p:cNvCxnSpPr>
            <a:cxnSpLocks/>
          </p:cNvCxnSpPr>
          <p:nvPr/>
        </p:nvCxnSpPr>
        <p:spPr>
          <a:xfrm>
            <a:off x="5713469" y="2676433"/>
            <a:ext cx="244741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CAEEB2-CD3F-7DE4-C1C7-4956042424D1}"/>
              </a:ext>
            </a:extLst>
          </p:cNvPr>
          <p:cNvCxnSpPr>
            <a:cxnSpLocks/>
          </p:cNvCxnSpPr>
          <p:nvPr/>
        </p:nvCxnSpPr>
        <p:spPr>
          <a:xfrm>
            <a:off x="5713469" y="3847859"/>
            <a:ext cx="244741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2">
            <a:extLst>
              <a:ext uri="{FF2B5EF4-FFF2-40B4-BE49-F238E27FC236}">
                <a16:creationId xmlns:a16="http://schemas.microsoft.com/office/drawing/2014/main" id="{69D7F2E1-05CF-064B-8E1E-5EDA642983A9}"/>
              </a:ext>
            </a:extLst>
          </p:cNvPr>
          <p:cNvSpPr/>
          <p:nvPr/>
        </p:nvSpPr>
        <p:spPr>
          <a:xfrm>
            <a:off x="4934010" y="982082"/>
            <a:ext cx="3810840" cy="42523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>
            <a:defPPr>
              <a:defRPr lang="en-US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…</a:t>
            </a:r>
            <a:r>
              <a:rPr lang="fr-FR" sz="1500" b="1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on which to build the </a:t>
            </a:r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options </a:t>
            </a:r>
            <a:r>
              <a:rPr lang="fr-FR" sz="1500" b="1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for strengthening strategic autonomy</a:t>
            </a:r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, </a:t>
            </a:r>
            <a:r>
              <a:rPr lang="fr-FR" sz="1500" b="1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to be assessed for each</a:t>
            </a:r>
            <a:r>
              <a:rPr lang="fr-FR" sz="1500" b="1" noProof="0">
                <a:solidFill>
                  <a:schemeClr val="tx2"/>
                </a:solidFill>
                <a:latin typeface="Geomanist Regular" panose="02000503000000020004" pitchFamily="50" charset="0"/>
                <a:ea typeface="Montserrat Semi Bold" pitchFamily="34" charset="-122"/>
                <a:cs typeface="Montserrat Semi Bold" pitchFamily="34" charset="-120"/>
              </a:rPr>
              <a:t> solution</a:t>
            </a:r>
            <a:endParaRPr lang="fr-FR" sz="1500" b="1" noProof="0">
              <a:solidFill>
                <a:schemeClr val="tx2"/>
              </a:solidFill>
              <a:latin typeface="Geomanist Regular" panose="02000503000000020004" pitchFamily="50" charset="0"/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0154760-D53D-2165-F267-67178A54EA85}"/>
              </a:ext>
            </a:extLst>
          </p:cNvPr>
          <p:cNvSpPr/>
          <p:nvPr/>
        </p:nvSpPr>
        <p:spPr>
          <a:xfrm>
            <a:off x="7260336" y="2008966"/>
            <a:ext cx="1563608" cy="193879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6234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F91FEB-A54D-6359-6B55-7EE6FC6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73" y="171900"/>
            <a:ext cx="9117856" cy="337362"/>
          </a:xfrm>
        </p:spPr>
        <p:txBody>
          <a:bodyPr lIns="91440" tIns="45720" rIns="91440" bIns="45720" anchor="t"/>
          <a:lstStyle/>
          <a:p>
            <a:r>
              <a:rPr lang="fr"/>
              <a:t>OPEN SOURCE IS MORE THAN JUST FREE SOFTWARE...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ED53B2E-D343-2BAD-8DE2-BBD67DBC8D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fr-FR">
                <a:latin typeface="Montserrat"/>
                <a:cs typeface="Arial"/>
              </a:rPr>
              <a:t>A rich ecosystem to understand</a:t>
            </a:r>
            <a:endParaRPr lang="fr-FR"/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58B6151B-4663-AA97-4085-539F024509F1}"/>
              </a:ext>
            </a:extLst>
          </p:cNvPr>
          <p:cNvSpPr txBox="1">
            <a:spLocks/>
          </p:cNvSpPr>
          <p:nvPr/>
        </p:nvSpPr>
        <p:spPr>
          <a:xfrm>
            <a:off x="99541" y="900033"/>
            <a:ext cx="4904813" cy="19074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37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Cambria Math" panose="02040503050406030204" pitchFamily="18" charset="0"/>
              <a:buNone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71" indent="-174621" algn="l" defTabSz="914378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79" indent="-176209" algn="l" defTabSz="914378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79424" indent="-222245" algn="l" defTabSz="914378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8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537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350">
                <a:latin typeface="Arial"/>
                <a:cs typeface="Arial"/>
              </a:rPr>
              <a:t>Open source is not “free” software; it is:</a:t>
            </a:r>
          </a:p>
          <a:p>
            <a:pPr marL="257175" indent="-257175">
              <a:buFont typeface="Wingdings" pitchFamily="2" charset="2"/>
              <a:buChar char="Ø"/>
            </a:pPr>
            <a:r>
              <a:rPr lang="fr-FR" sz="1350">
                <a:solidFill>
                  <a:srgbClr val="000000"/>
                </a:solidFill>
              </a:rPr>
              <a:t>Software with</a:t>
            </a:r>
            <a:r>
              <a:rPr lang="fr-FR" sz="1350">
                <a:latin typeface="Arial"/>
                <a:cs typeface="Arial"/>
              </a:rPr>
              <a:t> published code </a:t>
            </a:r>
            <a:r>
              <a:rPr lang="fr-FR" sz="1350" b="1">
                <a:latin typeface="Arial"/>
                <a:cs typeface="Arial"/>
              </a:rPr>
              <a:t>under a legal license</a:t>
            </a:r>
            <a:r>
              <a:rPr lang="fr-FR" sz="1350">
                <a:latin typeface="Arial"/>
                <a:cs typeface="Arial"/>
              </a:rPr>
              <a:t> that grants usage rights </a:t>
            </a:r>
            <a:endParaRPr lang="fr-FR" sz="1350"/>
          </a:p>
          <a:p>
            <a:pPr marL="257175" indent="-257175">
              <a:buFont typeface="Wingdings" pitchFamily="2" charset="2"/>
              <a:buChar char="Ø"/>
            </a:pPr>
            <a:r>
              <a:rPr lang="fr-FR" sz="1350">
                <a:solidFill>
                  <a:srgbClr val="000000"/>
                </a:solidFill>
              </a:rPr>
              <a:t>Developed in a </a:t>
            </a:r>
            <a:r>
              <a:rPr lang="fr-FR" sz="1350" b="1">
                <a:latin typeface="Arial"/>
                <a:cs typeface="Arial"/>
              </a:rPr>
              <a:t>collaborative way</a:t>
            </a:r>
            <a:r>
              <a:rPr lang="fr-FR" sz="1350">
                <a:latin typeface="Arial"/>
                <a:cs typeface="Arial"/>
              </a:rPr>
              <a:t> (community) </a:t>
            </a:r>
          </a:p>
          <a:p>
            <a:pPr marL="257175" indent="-257175">
              <a:buFont typeface="Wingdings" pitchFamily="2" charset="2"/>
              <a:buChar char="Ø"/>
            </a:pPr>
            <a:r>
              <a:rPr lang="fr-FR" sz="1350">
                <a:solidFill>
                  <a:srgbClr val="000000"/>
                </a:solidFill>
              </a:rPr>
              <a:t>It enables t</a:t>
            </a:r>
            <a:r>
              <a:rPr lang="fr-FR" sz="1350" b="1">
                <a:latin typeface="Arial"/>
                <a:cs typeface="Arial"/>
              </a:rPr>
              <a:t>ransparency</a:t>
            </a:r>
            <a:r>
              <a:rPr lang="fr-FR" sz="1350" b="1">
                <a:solidFill>
                  <a:srgbClr val="000000"/>
                </a:solidFill>
              </a:rPr>
              <a:t> </a:t>
            </a:r>
            <a:r>
              <a:rPr lang="fr-FR" sz="1350" b="1">
                <a:latin typeface="Arial"/>
                <a:cs typeface="Arial"/>
              </a:rPr>
              <a:t>of the code and reversibility</a:t>
            </a:r>
          </a:p>
          <a:p>
            <a:pPr marL="257175" indent="-257175">
              <a:buFont typeface="Wingdings" pitchFamily="2" charset="2"/>
              <a:buChar char="Ø"/>
            </a:pPr>
            <a:r>
              <a:rPr lang="fr-FR" sz="1350">
                <a:solidFill>
                  <a:srgbClr val="000000"/>
                </a:solidFill>
              </a:rPr>
              <a:t>You can use it</a:t>
            </a:r>
            <a:r>
              <a:rPr lang="fr-FR" sz="1350">
                <a:latin typeface="Arial"/>
                <a:cs typeface="Arial"/>
              </a:rPr>
              <a:t>, </a:t>
            </a:r>
            <a:r>
              <a:rPr lang="fr-FR" sz="1350" b="1">
                <a:latin typeface="Arial"/>
                <a:cs typeface="Arial"/>
              </a:rPr>
              <a:t>contribute</a:t>
            </a:r>
            <a:r>
              <a:rPr lang="fr-FR" sz="1350">
                <a:latin typeface="Arial"/>
                <a:cs typeface="Arial"/>
              </a:rPr>
              <a:t> &amp; </a:t>
            </a:r>
            <a:r>
              <a:rPr lang="fr-FR" sz="1350" b="1">
                <a:latin typeface="Arial"/>
                <a:cs typeface="Arial"/>
              </a:rPr>
              <a:t>create</a:t>
            </a:r>
            <a:r>
              <a:rPr lang="fr-FR" sz="1350">
                <a:latin typeface="Arial"/>
                <a:cs typeface="Arial"/>
              </a:rPr>
              <a:t> Open Source </a:t>
            </a:r>
            <a:endParaRPr lang="fr-FR" sz="1125">
              <a:latin typeface="Arial"/>
              <a:cs typeface="Arial"/>
            </a:endParaRP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76854FFB-3C28-DBCF-3910-95D3CB2B375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4778" y="2805918"/>
            <a:ext cx="4909552" cy="192122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sz="1350">
                <a:latin typeface="Arial"/>
                <a:cs typeface="Arial"/>
              </a:rPr>
              <a:t>Three usage models stand out, each with its own challenges </a:t>
            </a:r>
            <a:r>
              <a:rPr lang="fr-FR" sz="1200">
                <a:latin typeface="Arial"/>
                <a:cs typeface="Arial"/>
              </a:rPr>
              <a:t>:</a:t>
            </a:r>
          </a:p>
          <a:p>
            <a:pPr marL="285750" indent="-285750">
              <a:buFont typeface="Wingdings" panose="02040503050406030204" pitchFamily="18" charset="0"/>
              <a:buChar char="Ø"/>
            </a:pPr>
            <a:r>
              <a:rPr lang="fr-FR" sz="1350" b="1">
                <a:solidFill>
                  <a:srgbClr val="000000"/>
                </a:solidFill>
              </a:rPr>
              <a:t>Community-based</a:t>
            </a:r>
            <a:r>
              <a:rPr lang="fr-FR" sz="1350">
                <a:latin typeface="Arial"/>
                <a:cs typeface="Arial"/>
              </a:rPr>
              <a:t>: neutral, sustainable governance, but demanding in terms of involvement.</a:t>
            </a:r>
          </a:p>
          <a:p>
            <a:pPr marL="285750" indent="-285750">
              <a:buFont typeface="Wingdings" panose="02040503050406030204" pitchFamily="18" charset="0"/>
              <a:buChar char="Ø"/>
            </a:pPr>
            <a:r>
              <a:rPr lang="fr-FR" sz="1350" b="1">
                <a:solidFill>
                  <a:srgbClr val="000000"/>
                </a:solidFill>
              </a:rPr>
              <a:t>Packaged</a:t>
            </a:r>
            <a:r>
              <a:rPr lang="fr-FR" sz="1350" b="1">
                <a:latin typeface="Arial"/>
                <a:cs typeface="Arial"/>
              </a:rPr>
              <a:t> OSS</a:t>
            </a:r>
            <a:r>
              <a:rPr lang="fr-FR" sz="1350">
                <a:latin typeface="Arial"/>
                <a:cs typeface="Arial"/>
              </a:rPr>
              <a:t>: more structured, but with a relationship to the vendor that can recreate dependencies.</a:t>
            </a:r>
          </a:p>
          <a:p>
            <a:pPr marL="285750" indent="-285750">
              <a:buFont typeface="Wingdings" panose="02040503050406030204" pitchFamily="18" charset="0"/>
              <a:buChar char="Ø"/>
            </a:pPr>
            <a:r>
              <a:rPr lang="fr-FR" sz="1350" b="1">
                <a:latin typeface="Arial"/>
                <a:cs typeface="Arial"/>
              </a:rPr>
              <a:t>Open </a:t>
            </a:r>
            <a:r>
              <a:rPr lang="fr-FR" sz="1350" b="1" err="1">
                <a:latin typeface="Arial"/>
                <a:cs typeface="Arial"/>
              </a:rPr>
              <a:t>core</a:t>
            </a:r>
            <a:r>
              <a:rPr lang="fr-FR" sz="1350">
                <a:latin typeface="Arial"/>
                <a:cs typeface="Arial"/>
              </a:rPr>
              <a:t>: a delicate balance between open and proprietary components, to be analyzed carefully </a:t>
            </a:r>
          </a:p>
        </p:txBody>
      </p:sp>
      <p:pic>
        <p:nvPicPr>
          <p:cNvPr id="10" name="Picture 2" descr="L'Open Source, définition et impact">
            <a:extLst>
              <a:ext uri="{FF2B5EF4-FFF2-40B4-BE49-F238E27FC236}">
                <a16:creationId xmlns:a16="http://schemas.microsoft.com/office/drawing/2014/main" id="{0FECACE8-D2F7-AF0D-0965-AB9435C802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29918" y="4084716"/>
            <a:ext cx="2089439" cy="765464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3A7F02C3-9282-E73C-D0C3-772880063533}"/>
              </a:ext>
            </a:extLst>
          </p:cNvPr>
          <p:cNvSpPr txBox="1"/>
          <p:nvPr/>
        </p:nvSpPr>
        <p:spPr>
          <a:xfrm>
            <a:off x="5247000" y="1064250"/>
            <a:ext cx="3793500" cy="25160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350">
                <a:latin typeface="Arial"/>
                <a:cs typeface="Arial"/>
              </a:rPr>
              <a:t>Necessarily</a:t>
            </a:r>
            <a:r>
              <a:rPr lang="fr-FR" sz="13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some upfront work </a:t>
            </a:r>
            <a:r>
              <a:rPr lang="fr-FR" sz="1350">
                <a:latin typeface="Arial"/>
                <a:cs typeface="Arial"/>
              </a:rPr>
              <a:t>:</a:t>
            </a: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✅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Assess the vitality of projects and communities by relying </a:t>
            </a:r>
            <a:r>
              <a:rPr lang="fr-FR" sz="1200">
                <a:solidFill>
                  <a:srgbClr val="000000"/>
                </a:solidFill>
                <a:latin typeface="+mn-ea"/>
              </a:rPr>
              <a:t>on local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communities such as </a:t>
            </a:r>
            <a:r>
              <a:rPr lang="fr-FR" sz="1200" b="1" i="0" u="none" strike="noStrike" baseline="0">
                <a:solidFill>
                  <a:srgbClr val="000000"/>
                </a:solidFill>
                <a:latin typeface="Arial"/>
              </a:rPr>
              <a:t>TOSIT </a:t>
            </a: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✅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Rely on strong </a:t>
            </a:r>
            <a:r>
              <a:rPr lang="fr-FR" sz="1200" b="1" i="0" u="none" strike="noStrike" baseline="0">
                <a:solidFill>
                  <a:srgbClr val="000000"/>
                </a:solidFill>
                <a:latin typeface="Arial"/>
              </a:rPr>
              <a:t>open source </a:t>
            </a:r>
            <a:r>
              <a:rPr lang="fr-FR" sz="1200" b="1">
                <a:solidFill>
                  <a:srgbClr val="000000"/>
                </a:solidFill>
                <a:latin typeface="Arial"/>
              </a:rPr>
              <a:t>foundations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 for </a:t>
            </a:r>
            <a:r>
              <a:rPr lang="fr-FR" sz="1200" b="1">
                <a:solidFill>
                  <a:srgbClr val="000000"/>
                </a:solidFill>
                <a:latin typeface="Arial"/>
              </a:rPr>
              <a:t>governance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. (</a:t>
            </a:r>
            <a:r>
              <a:rPr lang="fr-FR" sz="1200" b="1" i="0" u="none" strike="noStrike" baseline="0">
                <a:solidFill>
                  <a:srgbClr val="000000"/>
                </a:solidFill>
                <a:latin typeface="Arial"/>
              </a:rPr>
              <a:t>OW2, Apache </a:t>
            </a:r>
            <a:r>
              <a:rPr lang="fr-FR" sz="1200" b="1">
                <a:solidFill>
                  <a:srgbClr val="000000"/>
                </a:solidFill>
                <a:latin typeface="Arial"/>
              </a:rPr>
              <a:t>Foundation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)</a:t>
            </a: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b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✅ </a:t>
            </a:r>
            <a:r>
              <a:rPr lang="fr-FR" sz="1200" b="1">
                <a:solidFill>
                  <a:srgbClr val="000000"/>
                </a:solidFill>
                <a:latin typeface="Arial"/>
              </a:rPr>
              <a:t>Structure your approach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 by relying on an </a:t>
            </a:r>
            <a:r>
              <a:rPr lang="fr-FR" sz="1200" b="1" i="0" u="none" strike="noStrike" baseline="0">
                <a:solidFill>
                  <a:srgbClr val="000000"/>
                </a:solidFill>
                <a:latin typeface="Arial"/>
              </a:rPr>
              <a:t>Open Source Program Office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 (OSPO)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to secure the software supply chain 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(SBOM, SCA),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ensure compliance 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(NIS2, CRA), 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organize internal 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contribution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, and facilitate</a:t>
            </a:r>
            <a:r>
              <a:rPr lang="fr-FR" sz="1200" b="0" i="0" u="none" strike="noStrike" baseline="0">
                <a:solidFill>
                  <a:srgbClr val="000000"/>
                </a:solidFill>
                <a:latin typeface="Arial"/>
              </a:rPr>
              <a:t> open source</a:t>
            </a:r>
            <a:r>
              <a:rPr lang="fr-FR" sz="1200">
                <a:solidFill>
                  <a:srgbClr val="000000"/>
                </a:solidFill>
                <a:latin typeface="Arial"/>
              </a:rPr>
              <a:t> assessments</a:t>
            </a:r>
            <a:r>
              <a:rPr sz="1200" b="0" i="0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966972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9E0F6-3817-826C-8CC7-E3B78424C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 descr="Une image contenant plein air, nuage, ciel, Tour de grande hauteur&#10;&#10;Description générée automatiquement">
            <a:extLst>
              <a:ext uri="{FF2B5EF4-FFF2-40B4-BE49-F238E27FC236}">
                <a16:creationId xmlns:a16="http://schemas.microsoft.com/office/drawing/2014/main" id="{D801BEA8-E63C-A77E-79F6-ED01521D103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848" r="6270"/>
          <a:stretch/>
        </p:blipFill>
        <p:spPr>
          <a:xfrm>
            <a:off x="142944" y="0"/>
            <a:ext cx="3276929" cy="5164138"/>
          </a:xfrm>
        </p:spPr>
      </p:pic>
      <p:grpSp>
        <p:nvGrpSpPr>
          <p:cNvPr id="31" name="Groupe 30">
            <a:extLst>
              <a:ext uri="{FF2B5EF4-FFF2-40B4-BE49-F238E27FC236}">
                <a16:creationId xmlns:a16="http://schemas.microsoft.com/office/drawing/2014/main" id="{2473CDFA-7BD6-6144-12DE-CE71278FA762}"/>
              </a:ext>
            </a:extLst>
          </p:cNvPr>
          <p:cNvGrpSpPr/>
          <p:nvPr/>
        </p:nvGrpSpPr>
        <p:grpSpPr>
          <a:xfrm>
            <a:off x="2609498" y="1726453"/>
            <a:ext cx="1980318" cy="1690595"/>
            <a:chOff x="2303748" y="1726453"/>
            <a:chExt cx="1980318" cy="169059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0BBC5BC-CA19-0558-73EB-1032C68989BA}"/>
                </a:ext>
              </a:extLst>
            </p:cNvPr>
            <p:cNvSpPr/>
            <p:nvPr/>
          </p:nvSpPr>
          <p:spPr>
            <a:xfrm>
              <a:off x="2303748" y="1726453"/>
              <a:ext cx="1908212" cy="1690595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4A00705-163F-F025-A217-D77795D4415D}"/>
                </a:ext>
              </a:extLst>
            </p:cNvPr>
            <p:cNvSpPr/>
            <p:nvPr/>
          </p:nvSpPr>
          <p:spPr>
            <a:xfrm>
              <a:off x="2396028" y="1822485"/>
              <a:ext cx="1888038" cy="1498531"/>
            </a:xfrm>
            <a:prstGeom prst="rect">
              <a:avLst/>
            </a:prstGeom>
            <a:solidFill>
              <a:schemeClr val="bg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B0613D3-6989-AEA7-F384-086A8526D7CB}"/>
                </a:ext>
              </a:extLst>
            </p:cNvPr>
            <p:cNvSpPr/>
            <p:nvPr/>
          </p:nvSpPr>
          <p:spPr>
            <a:xfrm>
              <a:off x="2492060" y="1918515"/>
              <a:ext cx="1719900" cy="13064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4B59AFBF-CB56-48C3-6E22-44817F6E28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1400">
                <a:latin typeface="Montserrat ExtraBold"/>
              </a:rPr>
              <a:t> </a:t>
            </a:r>
            <a:br>
              <a:rPr lang="en-US" sz="1600">
                <a:latin typeface="Montserrat ExtraBold"/>
              </a:rPr>
            </a:br>
            <a:r>
              <a:rPr lang="en-US" sz="2800">
                <a:solidFill>
                  <a:schemeClr val="accent1"/>
                </a:solidFill>
                <a:latin typeface="Montserrat ExtraBold"/>
              </a:rPr>
              <a:t>Open source for the Group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449BC3D-D14F-FF56-48FE-0B54FA6B56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accent4"/>
                </a:solidFill>
                <a:latin typeface="Montserrat ExtraBold"/>
                <a:cs typeface="Arial"/>
              </a:rPr>
              <a:t>02</a:t>
            </a:r>
            <a:endParaRPr lang="en-US">
              <a:solidFill>
                <a:schemeClr val="accent4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80E68B27-3677-E79A-1AA6-C4E7753B29DB}"/>
              </a:ext>
            </a:extLst>
          </p:cNvPr>
          <p:cNvCxnSpPr>
            <a:cxnSpLocks/>
          </p:cNvCxnSpPr>
          <p:nvPr/>
        </p:nvCxnSpPr>
        <p:spPr>
          <a:xfrm>
            <a:off x="3851920" y="2322000"/>
            <a:ext cx="0" cy="432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0357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8ED7C-68EC-D8AD-09AB-0A0CF61AD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1916F6A4-6950-0DDF-660F-487C29FFD9C1}"/>
              </a:ext>
            </a:extLst>
          </p:cNvPr>
          <p:cNvGraphicFramePr>
            <a:graphicFrameLocks noGrp="1"/>
          </p:cNvGraphicFramePr>
          <p:nvPr/>
        </p:nvGraphicFramePr>
        <p:xfrm>
          <a:off x="150237" y="1058059"/>
          <a:ext cx="8843526" cy="3773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968187601"/>
                    </a:ext>
                  </a:extLst>
                </a:gridCol>
                <a:gridCol w="1935006">
                  <a:extLst>
                    <a:ext uri="{9D8B030D-6E8A-4147-A177-3AD203B41FA5}">
                      <a16:colId xmlns:a16="http://schemas.microsoft.com/office/drawing/2014/main" val="418506283"/>
                    </a:ext>
                  </a:extLst>
                </a:gridCol>
                <a:gridCol w="1034902">
                  <a:extLst>
                    <a:ext uri="{9D8B030D-6E8A-4147-A177-3AD203B41FA5}">
                      <a16:colId xmlns:a16="http://schemas.microsoft.com/office/drawing/2014/main" val="1101985266"/>
                    </a:ext>
                  </a:extLst>
                </a:gridCol>
                <a:gridCol w="1063256">
                  <a:extLst>
                    <a:ext uri="{9D8B030D-6E8A-4147-A177-3AD203B41FA5}">
                      <a16:colId xmlns:a16="http://schemas.microsoft.com/office/drawing/2014/main" val="2300711344"/>
                    </a:ext>
                  </a:extLst>
                </a:gridCol>
                <a:gridCol w="1212111">
                  <a:extLst>
                    <a:ext uri="{9D8B030D-6E8A-4147-A177-3AD203B41FA5}">
                      <a16:colId xmlns:a16="http://schemas.microsoft.com/office/drawing/2014/main" val="1675945475"/>
                    </a:ext>
                  </a:extLst>
                </a:gridCol>
                <a:gridCol w="1070345">
                  <a:extLst>
                    <a:ext uri="{9D8B030D-6E8A-4147-A177-3AD203B41FA5}">
                      <a16:colId xmlns:a16="http://schemas.microsoft.com/office/drawing/2014/main" val="1494985155"/>
                    </a:ext>
                  </a:extLst>
                </a:gridCol>
                <a:gridCol w="1041990">
                  <a:extLst>
                    <a:ext uri="{9D8B030D-6E8A-4147-A177-3AD203B41FA5}">
                      <a16:colId xmlns:a16="http://schemas.microsoft.com/office/drawing/2014/main" val="3214486495"/>
                    </a:ext>
                  </a:extLst>
                </a:gridCol>
                <a:gridCol w="1277636">
                  <a:extLst>
                    <a:ext uri="{9D8B030D-6E8A-4147-A177-3AD203B41FA5}">
                      <a16:colId xmlns:a16="http://schemas.microsoft.com/office/drawing/2014/main" val="1867994139"/>
                    </a:ext>
                  </a:extLst>
                </a:gridCol>
              </a:tblGrid>
              <a:tr h="155471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0590781"/>
                  </a:ext>
                </a:extLst>
              </a:tr>
              <a:tr h="168427">
                <a:tc>
                  <a:txBody>
                    <a:bodyPr/>
                    <a:lstStyle/>
                    <a:p>
                      <a:pPr algn="ctr"/>
                      <a:endParaRPr lang="fr-FR" sz="1000" b="1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0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Ubuntu Regular"/>
                          <a:ea typeface="+mn-ea"/>
                          <a:cs typeface="+mn-cs"/>
                        </a:rPr>
                        <a:t>Approche intégré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Ubuntu Regular"/>
                          <a:ea typeface="+mn-ea"/>
                          <a:cs typeface="+mn-cs"/>
                        </a:rPr>
                        <a:t>OS Firs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err="1">
                          <a:solidFill>
                            <a:schemeClr val="accent1"/>
                          </a:solidFill>
                          <a:latin typeface="Ubuntu Regular"/>
                        </a:rPr>
                        <a:t>OSCoE</a:t>
                      </a:r>
                      <a:endParaRPr lang="fr-FR" sz="800" b="1">
                        <a:solidFill>
                          <a:schemeClr val="accent1"/>
                        </a:solidFill>
                        <a:latin typeface="Ubuntu Regular"/>
                      </a:endParaRPr>
                    </a:p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>
                          <a:solidFill>
                            <a:schemeClr val="accent1"/>
                          </a:solidFill>
                          <a:effectLst/>
                          <a:latin typeface="Ubuntu Regular"/>
                        </a:rPr>
                        <a:t>OS Center of Excellence</a:t>
                      </a:r>
                      <a:endParaRPr lang="fr-FR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Approche culturelle alignée sur les valeurs, charte de contribution</a:t>
                      </a:r>
                      <a:endParaRPr lang="fr-FR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OSPO spécialisé </a:t>
                      </a:r>
                    </a:p>
                    <a:p>
                      <a:pPr algn="ctr"/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avec gouvernance centralisée</a:t>
                      </a:r>
                      <a:endParaRPr lang="fr-FR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Programme OS Communautaire</a:t>
                      </a:r>
                      <a:endParaRPr lang="fr-FR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IOSPO spécialisé </a:t>
                      </a:r>
                    </a:p>
                    <a:p>
                      <a:pPr algn="ctr"/>
                      <a:r>
                        <a:rPr lang="fr-FR" sz="800" b="1">
                          <a:solidFill>
                            <a:schemeClr val="accent1"/>
                          </a:solidFill>
                          <a:latin typeface="Ubuntu Regular"/>
                        </a:rPr>
                        <a:t>avec gouvernance centralisée</a:t>
                      </a:r>
                      <a:endParaRPr lang="fr-FR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498457"/>
                  </a:ext>
                </a:extLst>
              </a:tr>
              <a:tr h="168427">
                <a:tc rowSpan="5">
                  <a:txBody>
                    <a:bodyPr/>
                    <a:lstStyle/>
                    <a:p>
                      <a:pPr algn="ctr"/>
                      <a:r>
                        <a:rPr lang="fr-FR" sz="1000" b="1">
                          <a:solidFill>
                            <a:schemeClr val="accent1"/>
                          </a:solidFill>
                        </a:rPr>
                        <a:t>PRINCIPALES MOTIVATIONS</a:t>
                      </a:r>
                    </a:p>
                  </a:txBody>
                  <a:tcPr vert="vert27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000" b="0" i="0">
                          <a:solidFill>
                            <a:schemeClr val="tx2"/>
                          </a:solidFill>
                          <a:effectLst/>
                          <a:latin typeface="Ubuntu Regular"/>
                        </a:rPr>
                        <a:t>Souveraineté numérique </a:t>
                      </a:r>
                      <a:r>
                        <a:rPr lang="fr-FR" sz="1000" b="0" i="0">
                          <a:solidFill>
                            <a:schemeClr val="tx1"/>
                          </a:solidFill>
                          <a:effectLst/>
                          <a:latin typeface="Ubuntu Regular"/>
                        </a:rPr>
                        <a:t>et indépendance technologique</a:t>
                      </a:r>
                      <a:endParaRPr lang="fr-FR" sz="10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269308"/>
                  </a:ext>
                </a:extLst>
              </a:tr>
              <a:tr h="168427">
                <a:tc vMerge="1">
                  <a:txBody>
                    <a:bodyPr/>
                    <a:lstStyle/>
                    <a:p>
                      <a:endParaRPr lang="fr-FR" sz="10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000" b="0" i="0" kern="1200">
                          <a:solidFill>
                            <a:schemeClr val="tx2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Réduction de la dépendance </a:t>
                      </a:r>
                      <a:r>
                        <a:rPr lang="fr-FR" sz="10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vis-à-vis des grands éditeurs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439505"/>
                  </a:ext>
                </a:extLst>
              </a:tr>
              <a:tr h="168427">
                <a:tc vMerge="1">
                  <a:txBody>
                    <a:bodyPr/>
                    <a:lstStyle/>
                    <a:p>
                      <a:endParaRPr lang="fr-FR" sz="10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000" b="0" i="0" kern="1200">
                          <a:solidFill>
                            <a:schemeClr val="tx2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Attirer des talents </a:t>
                      </a:r>
                      <a:r>
                        <a:rPr lang="fr-FR" sz="10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avec une culture collaborativ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647348"/>
                  </a:ext>
                </a:extLst>
              </a:tr>
              <a:tr h="168427">
                <a:tc vMerge="1"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i="0" kern="1200">
                          <a:solidFill>
                            <a:schemeClr val="tx2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Innovation </a:t>
                      </a:r>
                      <a:r>
                        <a:rPr lang="fr-FR" sz="10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/ flexibilité d’utilisation et contribution</a:t>
                      </a:r>
                      <a:endParaRPr lang="fr-FR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943802"/>
                  </a:ext>
                </a:extLst>
              </a:tr>
              <a:tr h="155471">
                <a:tc vMerge="1"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Modèle </a:t>
                      </a:r>
                      <a:r>
                        <a:rPr lang="fr-FR" sz="1000" b="0" i="0" kern="1200">
                          <a:solidFill>
                            <a:schemeClr val="tx2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économiqu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495540"/>
                  </a:ext>
                </a:extLst>
              </a:tr>
              <a:tr h="168427">
                <a:tc gridSpan="2">
                  <a:txBody>
                    <a:bodyPr/>
                    <a:lstStyle/>
                    <a:p>
                      <a:pPr marL="17780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i="0" kern="1200">
                          <a:solidFill>
                            <a:schemeClr val="accent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Réalisations</a:t>
                      </a:r>
                      <a:r>
                        <a:rPr lang="fr-FR" sz="1000" b="1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780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(migrations, supports, contributions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Oracle: PostgreSQL, Marché 300 logiciels</a:t>
                      </a:r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44 repositories GitHub </a:t>
                      </a:r>
                    </a:p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Création du fonds OSS by MAIF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Oracle: PostgreSQL, Marché 300 logiciels*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0" i="0" kern="1200" noProof="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Marché 300 logiciels</a:t>
                      </a:r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Organisation de hackathons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777890"/>
                  </a:ext>
                </a:extLst>
              </a:tr>
              <a:tr h="328859">
                <a:tc gridSpan="8">
                  <a:txBody>
                    <a:bodyPr/>
                    <a:lstStyle/>
                    <a:p>
                      <a:pPr marL="17780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     </a:t>
                      </a:r>
                      <a:r>
                        <a:rPr lang="fr-FR" sz="1000" b="1" i="0" kern="1200">
                          <a:solidFill>
                            <a:schemeClr val="accent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Principaux freins</a:t>
                      </a:r>
                      <a:r>
                        <a:rPr lang="fr-FR" sz="1000" b="1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: </a:t>
                      </a:r>
                      <a:r>
                        <a:rPr lang="fr-FR" sz="1000" b="0" i="0" kern="1200">
                          <a:solidFill>
                            <a:schemeClr val="tx1"/>
                          </a:solidFill>
                          <a:effectLst/>
                          <a:latin typeface="Ubuntu Regular"/>
                          <a:ea typeface="+mn-ea"/>
                          <a:cs typeface="+mn-cs"/>
                        </a:rPr>
                        <a:t>résistance culturelle, complexité juridique (charte, outils type Hermine), difficultés d’intégra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i="0" kern="1200" noProof="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i="0" kern="1200" noProof="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 b="0" i="0" kern="1200">
                        <a:solidFill>
                          <a:schemeClr val="tx1"/>
                        </a:solidFill>
                        <a:effectLst/>
                        <a:latin typeface="Ubuntu Regular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5697835"/>
                  </a:ext>
                </a:extLst>
              </a:tr>
            </a:tbl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39931C7-59C1-8ACB-80AA-9063286AA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atique de plac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05B6D8F-27A5-54F3-AB38-D6962B367D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fr-FR">
                <a:latin typeface="Montserrat"/>
                <a:cs typeface="Arial"/>
              </a:rPr>
              <a:t>Synthèse des interviews externes menés par OSE (2025)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4871C85-8995-3E4B-301C-1209116853F2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t="24794" b="25096"/>
          <a:stretch>
            <a:fillRect/>
          </a:stretch>
        </p:blipFill>
        <p:spPr>
          <a:xfrm>
            <a:off x="2196576" y="994307"/>
            <a:ext cx="994887" cy="37798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0C63444-C7D4-823F-3B1F-3F1D52E39110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 l="10775" t="21483" r="10561" b="26760"/>
          <a:stretch>
            <a:fillRect/>
          </a:stretch>
        </p:blipFill>
        <p:spPr>
          <a:xfrm>
            <a:off x="3245139" y="1022518"/>
            <a:ext cx="1194827" cy="2987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D9D2330-0AAB-532B-7CDA-F1DD5FC4AD52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4632687" y="900033"/>
            <a:ext cx="625757" cy="489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A188C2-8F1D-D4C4-F859-4A22D69A376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5703959" y="989319"/>
            <a:ext cx="765934" cy="382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2A63E82-53F5-3F9C-DF00-762946F6F63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 t="25348" b="24441"/>
          <a:stretch>
            <a:fillRect/>
          </a:stretch>
        </p:blipFill>
        <p:spPr>
          <a:xfrm>
            <a:off x="7907012" y="1022518"/>
            <a:ext cx="861674" cy="382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F1CFDAD-E325-2C6E-F5AE-E44BD4050A0C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6952249" y="994306"/>
            <a:ext cx="664489" cy="373822"/>
          </a:xfrm>
          <a:prstGeom prst="rect">
            <a:avLst/>
          </a:prstGeom>
          <a:noFill/>
          <a:ln>
            <a:noFill/>
          </a:ln>
        </p:spPr>
      </p:pic>
      <p:sp>
        <p:nvSpPr>
          <p:cNvPr id="1028" name="ZoneTexte 1027">
            <a:extLst>
              <a:ext uri="{FF2B5EF4-FFF2-40B4-BE49-F238E27FC236}">
                <a16:creationId xmlns:a16="http://schemas.microsoft.com/office/drawing/2014/main" id="{69A829DD-A253-D2E2-50FD-37C5D46CCDBC}"/>
              </a:ext>
            </a:extLst>
          </p:cNvPr>
          <p:cNvSpPr txBox="1"/>
          <p:nvPr/>
        </p:nvSpPr>
        <p:spPr>
          <a:xfrm>
            <a:off x="5002296" y="4854906"/>
            <a:ext cx="2532706" cy="21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900"/>
              <a:t>* </a:t>
            </a:r>
            <a:r>
              <a:rPr lang="fr-FR" sz="700" i="1"/>
              <a:t>prochainement</a:t>
            </a:r>
            <a:endParaRPr lang="fr-FR" sz="900" i="1"/>
          </a:p>
        </p:txBody>
      </p:sp>
      <p:grpSp>
        <p:nvGrpSpPr>
          <p:cNvPr id="1029" name="Graphique 347">
            <a:extLst>
              <a:ext uri="{FF2B5EF4-FFF2-40B4-BE49-F238E27FC236}">
                <a16:creationId xmlns:a16="http://schemas.microsoft.com/office/drawing/2014/main" id="{4715E235-2B70-1CEB-D5CF-067F9F23FAC7}"/>
              </a:ext>
            </a:extLst>
          </p:cNvPr>
          <p:cNvGrpSpPr/>
          <p:nvPr/>
        </p:nvGrpSpPr>
        <p:grpSpPr>
          <a:xfrm>
            <a:off x="1896685" y="1430040"/>
            <a:ext cx="218986" cy="291292"/>
            <a:chOff x="810635" y="3714678"/>
            <a:chExt cx="588759" cy="690760"/>
          </a:xfrm>
        </p:grpSpPr>
        <p:grpSp>
          <p:nvGrpSpPr>
            <p:cNvPr id="1030" name="Graphique 347">
              <a:extLst>
                <a:ext uri="{FF2B5EF4-FFF2-40B4-BE49-F238E27FC236}">
                  <a16:creationId xmlns:a16="http://schemas.microsoft.com/office/drawing/2014/main" id="{B69563DA-CB9D-D158-47DD-28840C54E2C3}"/>
                </a:ext>
              </a:extLst>
            </p:cNvPr>
            <p:cNvGrpSpPr/>
            <p:nvPr/>
          </p:nvGrpSpPr>
          <p:grpSpPr>
            <a:xfrm>
              <a:off x="810635" y="3906977"/>
              <a:ext cx="334859" cy="498453"/>
              <a:chOff x="810635" y="3906977"/>
              <a:chExt cx="334859" cy="498453"/>
            </a:xfrm>
          </p:grpSpPr>
          <p:sp>
            <p:nvSpPr>
              <p:cNvPr id="1043" name="Forme libre : forme 1042">
                <a:extLst>
                  <a:ext uri="{FF2B5EF4-FFF2-40B4-BE49-F238E27FC236}">
                    <a16:creationId xmlns:a16="http://schemas.microsoft.com/office/drawing/2014/main" id="{B9F85630-ADDF-3FFC-A65F-48A496F2E171}"/>
                  </a:ext>
                </a:extLst>
              </p:cNvPr>
              <p:cNvSpPr/>
              <p:nvPr/>
            </p:nvSpPr>
            <p:spPr>
              <a:xfrm>
                <a:off x="845729" y="4116108"/>
                <a:ext cx="264682" cy="166795"/>
              </a:xfrm>
              <a:custGeom>
                <a:avLst/>
                <a:gdLst>
                  <a:gd name="connsiteX0" fmla="*/ 264683 w 264682"/>
                  <a:gd name="connsiteY0" fmla="*/ 144224 h 166795"/>
                  <a:gd name="connsiteX1" fmla="*/ 132341 w 264682"/>
                  <a:gd name="connsiteY1" fmla="*/ 166796 h 166795"/>
                  <a:gd name="connsiteX2" fmla="*/ 0 w 264682"/>
                  <a:gd name="connsiteY2" fmla="*/ 144224 h 166795"/>
                  <a:gd name="connsiteX3" fmla="*/ 64224 w 264682"/>
                  <a:gd name="connsiteY3" fmla="*/ 41223 h 166795"/>
                  <a:gd name="connsiteX4" fmla="*/ 65114 w 264682"/>
                  <a:gd name="connsiteY4" fmla="*/ 20125 h 166795"/>
                  <a:gd name="connsiteX5" fmla="*/ 132340 w 264682"/>
                  <a:gd name="connsiteY5" fmla="*/ 0 h 166795"/>
                  <a:gd name="connsiteX6" fmla="*/ 199566 w 264682"/>
                  <a:gd name="connsiteY6" fmla="*/ 20125 h 166795"/>
                  <a:gd name="connsiteX7" fmla="*/ 200455 w 264682"/>
                  <a:gd name="connsiteY7" fmla="*/ 41223 h 166795"/>
                  <a:gd name="connsiteX8" fmla="*/ 264683 w 264682"/>
                  <a:gd name="connsiteY8" fmla="*/ 144224 h 166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4682" h="166795">
                    <a:moveTo>
                      <a:pt x="264683" y="144224"/>
                    </a:moveTo>
                    <a:lnTo>
                      <a:pt x="132341" y="166796"/>
                    </a:lnTo>
                    <a:lnTo>
                      <a:pt x="0" y="144224"/>
                    </a:lnTo>
                    <a:cubicBezTo>
                      <a:pt x="47297" y="122362"/>
                      <a:pt x="60973" y="78152"/>
                      <a:pt x="64224" y="41223"/>
                    </a:cubicBezTo>
                    <a:cubicBezTo>
                      <a:pt x="64877" y="33815"/>
                      <a:pt x="65114" y="26699"/>
                      <a:pt x="65114" y="20125"/>
                    </a:cubicBezTo>
                    <a:lnTo>
                      <a:pt x="132340" y="0"/>
                    </a:lnTo>
                    <a:lnTo>
                      <a:pt x="199566" y="20125"/>
                    </a:lnTo>
                    <a:cubicBezTo>
                      <a:pt x="199566" y="26699"/>
                      <a:pt x="199802" y="33815"/>
                      <a:pt x="200455" y="41223"/>
                    </a:cubicBezTo>
                    <a:cubicBezTo>
                      <a:pt x="203709" y="78150"/>
                      <a:pt x="217386" y="122362"/>
                      <a:pt x="264683" y="144224"/>
                    </a:cubicBezTo>
                    <a:close/>
                  </a:path>
                </a:pathLst>
              </a:custGeom>
              <a:solidFill>
                <a:srgbClr val="F6F1F1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4" name="Forme libre : forme 1043">
                <a:extLst>
                  <a:ext uri="{FF2B5EF4-FFF2-40B4-BE49-F238E27FC236}">
                    <a16:creationId xmlns:a16="http://schemas.microsoft.com/office/drawing/2014/main" id="{94D27A9C-EEE6-1541-FB8D-EB499B2EE210}"/>
                  </a:ext>
                </a:extLst>
              </p:cNvPr>
              <p:cNvSpPr/>
              <p:nvPr/>
            </p:nvSpPr>
            <p:spPr>
              <a:xfrm>
                <a:off x="909953" y="4116106"/>
                <a:ext cx="136232" cy="41251"/>
              </a:xfrm>
              <a:custGeom>
                <a:avLst/>
                <a:gdLst>
                  <a:gd name="connsiteX0" fmla="*/ 136232 w 136232"/>
                  <a:gd name="connsiteY0" fmla="*/ 41223 h 41251"/>
                  <a:gd name="connsiteX1" fmla="*/ 135343 w 136232"/>
                  <a:gd name="connsiteY1" fmla="*/ 41251 h 41251"/>
                  <a:gd name="connsiteX2" fmla="*/ 889 w 136232"/>
                  <a:gd name="connsiteY2" fmla="*/ 41251 h 41251"/>
                  <a:gd name="connsiteX3" fmla="*/ 0 w 136232"/>
                  <a:gd name="connsiteY3" fmla="*/ 41223 h 41251"/>
                  <a:gd name="connsiteX4" fmla="*/ 889 w 136232"/>
                  <a:gd name="connsiteY4" fmla="*/ 20125 h 41251"/>
                  <a:gd name="connsiteX5" fmla="*/ 68115 w 136232"/>
                  <a:gd name="connsiteY5" fmla="*/ 0 h 41251"/>
                  <a:gd name="connsiteX6" fmla="*/ 135342 w 136232"/>
                  <a:gd name="connsiteY6" fmla="*/ 20125 h 41251"/>
                  <a:gd name="connsiteX7" fmla="*/ 136232 w 136232"/>
                  <a:gd name="connsiteY7" fmla="*/ 41223 h 41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232" h="41251">
                    <a:moveTo>
                      <a:pt x="136232" y="41223"/>
                    </a:moveTo>
                    <a:cubicBezTo>
                      <a:pt x="135941" y="41251"/>
                      <a:pt x="135648" y="41251"/>
                      <a:pt x="135343" y="41251"/>
                    </a:cubicBezTo>
                    <a:lnTo>
                      <a:pt x="889" y="41251"/>
                    </a:lnTo>
                    <a:cubicBezTo>
                      <a:pt x="583" y="41251"/>
                      <a:pt x="291" y="41251"/>
                      <a:pt x="0" y="41223"/>
                    </a:cubicBezTo>
                    <a:cubicBezTo>
                      <a:pt x="653" y="33815"/>
                      <a:pt x="889" y="26700"/>
                      <a:pt x="889" y="20125"/>
                    </a:cubicBezTo>
                    <a:lnTo>
                      <a:pt x="68115" y="0"/>
                    </a:lnTo>
                    <a:lnTo>
                      <a:pt x="135342" y="20125"/>
                    </a:lnTo>
                    <a:cubicBezTo>
                      <a:pt x="135343" y="26700"/>
                      <a:pt x="135579" y="33816"/>
                      <a:pt x="136232" y="41223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5" name="Forme libre : forme 1044">
                <a:extLst>
                  <a:ext uri="{FF2B5EF4-FFF2-40B4-BE49-F238E27FC236}">
                    <a16:creationId xmlns:a16="http://schemas.microsoft.com/office/drawing/2014/main" id="{BA7E02BC-A462-479F-6ADE-F66C53A2E5E2}"/>
                  </a:ext>
                </a:extLst>
              </p:cNvPr>
              <p:cNvSpPr/>
              <p:nvPr/>
            </p:nvSpPr>
            <p:spPr>
              <a:xfrm>
                <a:off x="845725" y="4116106"/>
                <a:ext cx="132341" cy="166795"/>
              </a:xfrm>
              <a:custGeom>
                <a:avLst/>
                <a:gdLst>
                  <a:gd name="connsiteX0" fmla="*/ 64948 w 132341"/>
                  <a:gd name="connsiteY0" fmla="*/ 144224 h 166795"/>
                  <a:gd name="connsiteX1" fmla="*/ 132341 w 132341"/>
                  <a:gd name="connsiteY1" fmla="*/ 166796 h 166795"/>
                  <a:gd name="connsiteX2" fmla="*/ 0 w 132341"/>
                  <a:gd name="connsiteY2" fmla="*/ 144224 h 166795"/>
                  <a:gd name="connsiteX3" fmla="*/ 65114 w 132341"/>
                  <a:gd name="connsiteY3" fmla="*/ 20125 h 166795"/>
                  <a:gd name="connsiteX4" fmla="*/ 132341 w 132341"/>
                  <a:gd name="connsiteY4" fmla="*/ 0 h 166795"/>
                  <a:gd name="connsiteX5" fmla="*/ 98110 w 132341"/>
                  <a:gd name="connsiteY5" fmla="*/ 20125 h 166795"/>
                  <a:gd name="connsiteX6" fmla="*/ 64948 w 132341"/>
                  <a:gd name="connsiteY6" fmla="*/ 144224 h 166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2341" h="166795">
                    <a:moveTo>
                      <a:pt x="64948" y="144224"/>
                    </a:moveTo>
                    <a:lnTo>
                      <a:pt x="132341" y="166796"/>
                    </a:lnTo>
                    <a:lnTo>
                      <a:pt x="0" y="144224"/>
                    </a:lnTo>
                    <a:cubicBezTo>
                      <a:pt x="56775" y="117970"/>
                      <a:pt x="65114" y="59527"/>
                      <a:pt x="65114" y="20125"/>
                    </a:cubicBezTo>
                    <a:lnTo>
                      <a:pt x="132341" y="0"/>
                    </a:lnTo>
                    <a:lnTo>
                      <a:pt x="98110" y="20125"/>
                    </a:lnTo>
                    <a:cubicBezTo>
                      <a:pt x="98110" y="59527"/>
                      <a:pt x="93856" y="117970"/>
                      <a:pt x="64948" y="144224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6" name="Forme libre : forme 1045">
                <a:extLst>
                  <a:ext uri="{FF2B5EF4-FFF2-40B4-BE49-F238E27FC236}">
                    <a16:creationId xmlns:a16="http://schemas.microsoft.com/office/drawing/2014/main" id="{D10D886B-C309-B74D-5B93-832488601212}"/>
                  </a:ext>
                </a:extLst>
              </p:cNvPr>
              <p:cNvSpPr/>
              <p:nvPr/>
            </p:nvSpPr>
            <p:spPr>
              <a:xfrm>
                <a:off x="887452" y="3906977"/>
                <a:ext cx="181221" cy="181223"/>
              </a:xfrm>
              <a:custGeom>
                <a:avLst/>
                <a:gdLst>
                  <a:gd name="connsiteX0" fmla="*/ 181222 w 181221"/>
                  <a:gd name="connsiteY0" fmla="*/ 90604 h 181223"/>
                  <a:gd name="connsiteX1" fmla="*/ 165183 w 181221"/>
                  <a:gd name="connsiteY1" fmla="*/ 142085 h 181223"/>
                  <a:gd name="connsiteX2" fmla="*/ 90618 w 181221"/>
                  <a:gd name="connsiteY2" fmla="*/ 181223 h 181223"/>
                  <a:gd name="connsiteX3" fmla="*/ 16039 w 181221"/>
                  <a:gd name="connsiteY3" fmla="*/ 142085 h 181223"/>
                  <a:gd name="connsiteX4" fmla="*/ 0 w 181221"/>
                  <a:gd name="connsiteY4" fmla="*/ 90604 h 181223"/>
                  <a:gd name="connsiteX5" fmla="*/ 90618 w 181221"/>
                  <a:gd name="connsiteY5" fmla="*/ 0 h 181223"/>
                  <a:gd name="connsiteX6" fmla="*/ 181222 w 181221"/>
                  <a:gd name="connsiteY6" fmla="*/ 90604 h 18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1221" h="181223">
                    <a:moveTo>
                      <a:pt x="181222" y="90604"/>
                    </a:moveTo>
                    <a:cubicBezTo>
                      <a:pt x="181222" y="109728"/>
                      <a:pt x="175301" y="127476"/>
                      <a:pt x="165183" y="142085"/>
                    </a:cubicBezTo>
                    <a:cubicBezTo>
                      <a:pt x="148839" y="165726"/>
                      <a:pt x="121543" y="181223"/>
                      <a:pt x="90618" y="181223"/>
                    </a:cubicBezTo>
                    <a:cubicBezTo>
                      <a:pt x="59693" y="181223"/>
                      <a:pt x="32383" y="165727"/>
                      <a:pt x="16039" y="142085"/>
                    </a:cubicBezTo>
                    <a:cubicBezTo>
                      <a:pt x="5920" y="127478"/>
                      <a:pt x="0" y="109730"/>
                      <a:pt x="0" y="90604"/>
                    </a:cubicBezTo>
                    <a:cubicBezTo>
                      <a:pt x="0" y="40570"/>
                      <a:pt x="40570" y="0"/>
                      <a:pt x="90618" y="0"/>
                    </a:cubicBezTo>
                    <a:cubicBezTo>
                      <a:pt x="140652" y="0"/>
                      <a:pt x="181222" y="40569"/>
                      <a:pt x="181222" y="90604"/>
                    </a:cubicBezTo>
                    <a:close/>
                  </a:path>
                </a:pathLst>
              </a:custGeom>
              <a:solidFill>
                <a:srgbClr val="F6F1F1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7" name="Forme libre : forme 1046">
                <a:extLst>
                  <a:ext uri="{FF2B5EF4-FFF2-40B4-BE49-F238E27FC236}">
                    <a16:creationId xmlns:a16="http://schemas.microsoft.com/office/drawing/2014/main" id="{5558B4B4-10DE-38E9-783B-94CB30AEF100}"/>
                  </a:ext>
                </a:extLst>
              </p:cNvPr>
              <p:cNvSpPr/>
              <p:nvPr/>
            </p:nvSpPr>
            <p:spPr>
              <a:xfrm>
                <a:off x="903489" y="4048213"/>
                <a:ext cx="149144" cy="39985"/>
              </a:xfrm>
              <a:custGeom>
                <a:avLst/>
                <a:gdLst>
                  <a:gd name="connsiteX0" fmla="*/ 149145 w 149144"/>
                  <a:gd name="connsiteY0" fmla="*/ 847 h 39985"/>
                  <a:gd name="connsiteX1" fmla="*/ 74579 w 149144"/>
                  <a:gd name="connsiteY1" fmla="*/ 39986 h 39985"/>
                  <a:gd name="connsiteX2" fmla="*/ 0 w 149144"/>
                  <a:gd name="connsiteY2" fmla="*/ 847 h 39985"/>
                  <a:gd name="connsiteX3" fmla="*/ 7353 w 149144"/>
                  <a:gd name="connsiteY3" fmla="*/ 0 h 39985"/>
                  <a:gd name="connsiteX4" fmla="*/ 141807 w 149144"/>
                  <a:gd name="connsiteY4" fmla="*/ 0 h 39985"/>
                  <a:gd name="connsiteX5" fmla="*/ 149145 w 149144"/>
                  <a:gd name="connsiteY5" fmla="*/ 847 h 39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9144" h="39985">
                    <a:moveTo>
                      <a:pt x="149145" y="847"/>
                    </a:moveTo>
                    <a:cubicBezTo>
                      <a:pt x="132800" y="24488"/>
                      <a:pt x="105504" y="39986"/>
                      <a:pt x="74579" y="39986"/>
                    </a:cubicBezTo>
                    <a:cubicBezTo>
                      <a:pt x="43654" y="39986"/>
                      <a:pt x="16345" y="24490"/>
                      <a:pt x="0" y="847"/>
                    </a:cubicBezTo>
                    <a:cubicBezTo>
                      <a:pt x="2362" y="291"/>
                      <a:pt x="4823" y="0"/>
                      <a:pt x="7353" y="0"/>
                    </a:cubicBezTo>
                    <a:lnTo>
                      <a:pt x="141807" y="0"/>
                    </a:lnTo>
                    <a:cubicBezTo>
                      <a:pt x="144336" y="0"/>
                      <a:pt x="146782" y="291"/>
                      <a:pt x="149145" y="847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8" name="Forme libre : forme 1047">
                <a:extLst>
                  <a:ext uri="{FF2B5EF4-FFF2-40B4-BE49-F238E27FC236}">
                    <a16:creationId xmlns:a16="http://schemas.microsoft.com/office/drawing/2014/main" id="{F2A78557-F83D-385C-B33C-E07DD0E061C7}"/>
                  </a:ext>
                </a:extLst>
              </p:cNvPr>
              <p:cNvSpPr/>
              <p:nvPr/>
            </p:nvSpPr>
            <p:spPr>
              <a:xfrm>
                <a:off x="887457" y="3906980"/>
                <a:ext cx="118122" cy="181221"/>
              </a:xfrm>
              <a:custGeom>
                <a:avLst/>
                <a:gdLst>
                  <a:gd name="connsiteX0" fmla="*/ 118123 w 118122"/>
                  <a:gd name="connsiteY0" fmla="*/ 176969 h 181221"/>
                  <a:gd name="connsiteX1" fmla="*/ 90604 w 118122"/>
                  <a:gd name="connsiteY1" fmla="*/ 181222 h 181221"/>
                  <a:gd name="connsiteX2" fmla="*/ 0 w 118122"/>
                  <a:gd name="connsiteY2" fmla="*/ 90604 h 181221"/>
                  <a:gd name="connsiteX3" fmla="*/ 90604 w 118122"/>
                  <a:gd name="connsiteY3" fmla="*/ 0 h 181221"/>
                  <a:gd name="connsiteX4" fmla="*/ 118123 w 118122"/>
                  <a:gd name="connsiteY4" fmla="*/ 4252 h 181221"/>
                  <a:gd name="connsiteX5" fmla="*/ 55023 w 118122"/>
                  <a:gd name="connsiteY5" fmla="*/ 90604 h 181221"/>
                  <a:gd name="connsiteX6" fmla="*/ 118123 w 118122"/>
                  <a:gd name="connsiteY6" fmla="*/ 176969 h 181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122" h="181221">
                    <a:moveTo>
                      <a:pt x="118123" y="176969"/>
                    </a:moveTo>
                    <a:cubicBezTo>
                      <a:pt x="109450" y="179735"/>
                      <a:pt x="100194" y="181222"/>
                      <a:pt x="90604" y="181222"/>
                    </a:cubicBezTo>
                    <a:cubicBezTo>
                      <a:pt x="40570" y="181222"/>
                      <a:pt x="0" y="140652"/>
                      <a:pt x="0" y="90604"/>
                    </a:cubicBezTo>
                    <a:cubicBezTo>
                      <a:pt x="0" y="40570"/>
                      <a:pt x="40570" y="0"/>
                      <a:pt x="90604" y="0"/>
                    </a:cubicBezTo>
                    <a:cubicBezTo>
                      <a:pt x="100194" y="0"/>
                      <a:pt x="109450" y="1487"/>
                      <a:pt x="118123" y="4252"/>
                    </a:cubicBezTo>
                    <a:cubicBezTo>
                      <a:pt x="81529" y="15900"/>
                      <a:pt x="55023" y="50160"/>
                      <a:pt x="55023" y="90604"/>
                    </a:cubicBezTo>
                    <a:cubicBezTo>
                      <a:pt x="55023" y="131064"/>
                      <a:pt x="81527" y="165324"/>
                      <a:pt x="118123" y="176969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9" name="Forme libre : forme 1048">
                <a:extLst>
                  <a:ext uri="{FF2B5EF4-FFF2-40B4-BE49-F238E27FC236}">
                    <a16:creationId xmlns:a16="http://schemas.microsoft.com/office/drawing/2014/main" id="{3ED360E4-A322-9F54-5BDF-0352BFDE1799}"/>
                  </a:ext>
                </a:extLst>
              </p:cNvPr>
              <p:cNvSpPr/>
              <p:nvPr/>
            </p:nvSpPr>
            <p:spPr>
              <a:xfrm>
                <a:off x="845723" y="4260333"/>
                <a:ext cx="264682" cy="70716"/>
              </a:xfrm>
              <a:custGeom>
                <a:avLst/>
                <a:gdLst>
                  <a:gd name="connsiteX0" fmla="*/ 0 w 264682"/>
                  <a:gd name="connsiteY0" fmla="*/ 70717 h 70716"/>
                  <a:gd name="connsiteX1" fmla="*/ 0 w 264682"/>
                  <a:gd name="connsiteY1" fmla="*/ 0 h 70716"/>
                  <a:gd name="connsiteX2" fmla="*/ 264683 w 264682"/>
                  <a:gd name="connsiteY2" fmla="*/ 0 h 70716"/>
                  <a:gd name="connsiteX3" fmla="*/ 264683 w 264682"/>
                  <a:gd name="connsiteY3" fmla="*/ 70717 h 70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682" h="70716">
                    <a:moveTo>
                      <a:pt x="0" y="70717"/>
                    </a:moveTo>
                    <a:lnTo>
                      <a:pt x="0" y="0"/>
                    </a:lnTo>
                    <a:lnTo>
                      <a:pt x="264683" y="0"/>
                    </a:lnTo>
                    <a:lnTo>
                      <a:pt x="264683" y="70717"/>
                    </a:lnTo>
                  </a:path>
                </a:pathLst>
              </a:custGeom>
              <a:solidFill>
                <a:srgbClr val="F6F1F1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50" name="Forme libre : forme 1049">
                <a:extLst>
                  <a:ext uri="{FF2B5EF4-FFF2-40B4-BE49-F238E27FC236}">
                    <a16:creationId xmlns:a16="http://schemas.microsoft.com/office/drawing/2014/main" id="{65A614BB-77CB-00D6-D07C-DE3DD7586670}"/>
                  </a:ext>
                </a:extLst>
              </p:cNvPr>
              <p:cNvSpPr/>
              <p:nvPr/>
            </p:nvSpPr>
            <p:spPr>
              <a:xfrm>
                <a:off x="845723" y="4260335"/>
                <a:ext cx="64947" cy="70715"/>
              </a:xfrm>
              <a:custGeom>
                <a:avLst/>
                <a:gdLst>
                  <a:gd name="connsiteX0" fmla="*/ 0 w 64947"/>
                  <a:gd name="connsiteY0" fmla="*/ 0 h 70715"/>
                  <a:gd name="connsiteX1" fmla="*/ 64948 w 64947"/>
                  <a:gd name="connsiteY1" fmla="*/ 0 h 70715"/>
                  <a:gd name="connsiteX2" fmla="*/ 64948 w 64947"/>
                  <a:gd name="connsiteY2" fmla="*/ 70715 h 70715"/>
                  <a:gd name="connsiteX3" fmla="*/ 0 w 64947"/>
                  <a:gd name="connsiteY3" fmla="*/ 70715 h 7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47" h="70715">
                    <a:moveTo>
                      <a:pt x="0" y="0"/>
                    </a:moveTo>
                    <a:lnTo>
                      <a:pt x="64948" y="0"/>
                    </a:lnTo>
                    <a:lnTo>
                      <a:pt x="64948" y="70715"/>
                    </a:lnTo>
                    <a:lnTo>
                      <a:pt x="0" y="70715"/>
                    </a:ln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51" name="Forme libre : forme 1050">
                <a:extLst>
                  <a:ext uri="{FF2B5EF4-FFF2-40B4-BE49-F238E27FC236}">
                    <a16:creationId xmlns:a16="http://schemas.microsoft.com/office/drawing/2014/main" id="{FF2E0DD9-38CC-B311-5C04-22D2CE85E719}"/>
                  </a:ext>
                </a:extLst>
              </p:cNvPr>
              <p:cNvSpPr/>
              <p:nvPr/>
            </p:nvSpPr>
            <p:spPr>
              <a:xfrm>
                <a:off x="810635" y="4305474"/>
                <a:ext cx="334859" cy="99956"/>
              </a:xfrm>
              <a:custGeom>
                <a:avLst/>
                <a:gdLst>
                  <a:gd name="connsiteX0" fmla="*/ 299771 w 334859"/>
                  <a:gd name="connsiteY0" fmla="*/ 0 h 99956"/>
                  <a:gd name="connsiteX1" fmla="*/ 35088 w 334859"/>
                  <a:gd name="connsiteY1" fmla="*/ 0 h 99956"/>
                  <a:gd name="connsiteX2" fmla="*/ 0 w 334859"/>
                  <a:gd name="connsiteY2" fmla="*/ 35088 h 99956"/>
                  <a:gd name="connsiteX3" fmla="*/ 0 w 334859"/>
                  <a:gd name="connsiteY3" fmla="*/ 99956 h 99956"/>
                  <a:gd name="connsiteX4" fmla="*/ 334859 w 334859"/>
                  <a:gd name="connsiteY4" fmla="*/ 99956 h 99956"/>
                  <a:gd name="connsiteX5" fmla="*/ 334859 w 334859"/>
                  <a:gd name="connsiteY5" fmla="*/ 35088 h 99956"/>
                  <a:gd name="connsiteX6" fmla="*/ 299771 w 334859"/>
                  <a:gd name="connsiteY6" fmla="*/ 0 h 9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4859" h="99956">
                    <a:moveTo>
                      <a:pt x="299771" y="0"/>
                    </a:moveTo>
                    <a:lnTo>
                      <a:pt x="35088" y="0"/>
                    </a:lnTo>
                    <a:cubicBezTo>
                      <a:pt x="15709" y="0"/>
                      <a:pt x="0" y="15709"/>
                      <a:pt x="0" y="35088"/>
                    </a:cubicBezTo>
                    <a:lnTo>
                      <a:pt x="0" y="99956"/>
                    </a:lnTo>
                    <a:lnTo>
                      <a:pt x="334859" y="99956"/>
                    </a:lnTo>
                    <a:lnTo>
                      <a:pt x="334859" y="35088"/>
                    </a:lnTo>
                    <a:cubicBezTo>
                      <a:pt x="334859" y="15709"/>
                      <a:pt x="319150" y="0"/>
                      <a:pt x="299771" y="0"/>
                    </a:cubicBezTo>
                    <a:close/>
                  </a:path>
                </a:pathLst>
              </a:custGeom>
              <a:solidFill>
                <a:srgbClr val="F6F1F1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52" name="Forme libre : forme 1051">
                <a:extLst>
                  <a:ext uri="{FF2B5EF4-FFF2-40B4-BE49-F238E27FC236}">
                    <a16:creationId xmlns:a16="http://schemas.microsoft.com/office/drawing/2014/main" id="{8CD117A8-DD66-FDA7-3A26-80360027C88B}"/>
                  </a:ext>
                </a:extLst>
              </p:cNvPr>
              <p:cNvSpPr/>
              <p:nvPr/>
            </p:nvSpPr>
            <p:spPr>
              <a:xfrm>
                <a:off x="810635" y="4305473"/>
                <a:ext cx="144182" cy="99957"/>
              </a:xfrm>
              <a:custGeom>
                <a:avLst/>
                <a:gdLst>
                  <a:gd name="connsiteX0" fmla="*/ 144183 w 144182"/>
                  <a:gd name="connsiteY0" fmla="*/ 0 h 99957"/>
                  <a:gd name="connsiteX1" fmla="*/ 109089 w 144182"/>
                  <a:gd name="connsiteY1" fmla="*/ 35094 h 99957"/>
                  <a:gd name="connsiteX2" fmla="*/ 109089 w 144182"/>
                  <a:gd name="connsiteY2" fmla="*/ 99958 h 99957"/>
                  <a:gd name="connsiteX3" fmla="*/ 0 w 144182"/>
                  <a:gd name="connsiteY3" fmla="*/ 99958 h 99957"/>
                  <a:gd name="connsiteX4" fmla="*/ 0 w 144182"/>
                  <a:gd name="connsiteY4" fmla="*/ 35094 h 99957"/>
                  <a:gd name="connsiteX5" fmla="*/ 35094 w 144182"/>
                  <a:gd name="connsiteY5" fmla="*/ 0 h 99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4182" h="99957">
                    <a:moveTo>
                      <a:pt x="144183" y="0"/>
                    </a:moveTo>
                    <a:cubicBezTo>
                      <a:pt x="124794" y="0"/>
                      <a:pt x="109089" y="15705"/>
                      <a:pt x="109089" y="35094"/>
                    </a:cubicBezTo>
                    <a:lnTo>
                      <a:pt x="109089" y="99958"/>
                    </a:lnTo>
                    <a:lnTo>
                      <a:pt x="0" y="99958"/>
                    </a:lnTo>
                    <a:lnTo>
                      <a:pt x="0" y="35094"/>
                    </a:lnTo>
                    <a:cubicBezTo>
                      <a:pt x="0" y="15705"/>
                      <a:pt x="15705" y="0"/>
                      <a:pt x="35094" y="0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53" name="Forme libre : forme 1052">
                <a:extLst>
                  <a:ext uri="{FF2B5EF4-FFF2-40B4-BE49-F238E27FC236}">
                    <a16:creationId xmlns:a16="http://schemas.microsoft.com/office/drawing/2014/main" id="{D6A9709D-8E5E-DAB1-FE2B-474B1B47FA6E}"/>
                  </a:ext>
                </a:extLst>
              </p:cNvPr>
              <p:cNvSpPr/>
              <p:nvPr/>
            </p:nvSpPr>
            <p:spPr>
              <a:xfrm>
                <a:off x="878302" y="4071160"/>
                <a:ext cx="199524" cy="65071"/>
              </a:xfrm>
              <a:custGeom>
                <a:avLst/>
                <a:gdLst>
                  <a:gd name="connsiteX0" fmla="*/ 0 w 199524"/>
                  <a:gd name="connsiteY0" fmla="*/ 32536 h 65071"/>
                  <a:gd name="connsiteX1" fmla="*/ 32536 w 199524"/>
                  <a:gd name="connsiteY1" fmla="*/ 0 h 65071"/>
                  <a:gd name="connsiteX2" fmla="*/ 166989 w 199524"/>
                  <a:gd name="connsiteY2" fmla="*/ 0 h 65071"/>
                  <a:gd name="connsiteX3" fmla="*/ 199524 w 199524"/>
                  <a:gd name="connsiteY3" fmla="*/ 32536 h 65071"/>
                  <a:gd name="connsiteX4" fmla="*/ 166989 w 199524"/>
                  <a:gd name="connsiteY4" fmla="*/ 65072 h 65071"/>
                  <a:gd name="connsiteX5" fmla="*/ 32536 w 199524"/>
                  <a:gd name="connsiteY5" fmla="*/ 65072 h 65071"/>
                  <a:gd name="connsiteX6" fmla="*/ 0 w 199524"/>
                  <a:gd name="connsiteY6" fmla="*/ 32536 h 65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524" h="65071">
                    <a:moveTo>
                      <a:pt x="0" y="32536"/>
                    </a:moveTo>
                    <a:cubicBezTo>
                      <a:pt x="0" y="14567"/>
                      <a:pt x="14567" y="0"/>
                      <a:pt x="32536" y="0"/>
                    </a:cubicBezTo>
                    <a:lnTo>
                      <a:pt x="166989" y="0"/>
                    </a:lnTo>
                    <a:cubicBezTo>
                      <a:pt x="184958" y="0"/>
                      <a:pt x="199524" y="14567"/>
                      <a:pt x="199524" y="32536"/>
                    </a:cubicBezTo>
                    <a:cubicBezTo>
                      <a:pt x="199524" y="50505"/>
                      <a:pt x="184958" y="65072"/>
                      <a:pt x="166989" y="65072"/>
                    </a:cubicBezTo>
                    <a:lnTo>
                      <a:pt x="32536" y="65072"/>
                    </a:lnTo>
                    <a:cubicBezTo>
                      <a:pt x="14567" y="65072"/>
                      <a:pt x="0" y="50505"/>
                      <a:pt x="0" y="32536"/>
                    </a:cubicBezTo>
                    <a:close/>
                  </a:path>
                </a:pathLst>
              </a:custGeom>
              <a:solidFill>
                <a:srgbClr val="F6F1F1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54" name="Forme libre : forme 1053">
                <a:extLst>
                  <a:ext uri="{FF2B5EF4-FFF2-40B4-BE49-F238E27FC236}">
                    <a16:creationId xmlns:a16="http://schemas.microsoft.com/office/drawing/2014/main" id="{6FEA9F06-5B0C-E055-A3E8-4007EA5F20A1}"/>
                  </a:ext>
                </a:extLst>
              </p:cNvPr>
              <p:cNvSpPr/>
              <p:nvPr/>
            </p:nvSpPr>
            <p:spPr>
              <a:xfrm>
                <a:off x="878302" y="4071160"/>
                <a:ext cx="92327" cy="65071"/>
              </a:xfrm>
              <a:custGeom>
                <a:avLst/>
                <a:gdLst>
                  <a:gd name="connsiteX0" fmla="*/ 92327 w 92327"/>
                  <a:gd name="connsiteY0" fmla="*/ 65072 h 65071"/>
                  <a:gd name="connsiteX1" fmla="*/ 32536 w 92327"/>
                  <a:gd name="connsiteY1" fmla="*/ 65072 h 65071"/>
                  <a:gd name="connsiteX2" fmla="*/ 0 w 92327"/>
                  <a:gd name="connsiteY2" fmla="*/ 32536 h 65071"/>
                  <a:gd name="connsiteX3" fmla="*/ 32536 w 92327"/>
                  <a:gd name="connsiteY3" fmla="*/ 0 h 65071"/>
                  <a:gd name="connsiteX4" fmla="*/ 92327 w 92327"/>
                  <a:gd name="connsiteY4" fmla="*/ 0 h 65071"/>
                  <a:gd name="connsiteX5" fmla="*/ 59791 w 92327"/>
                  <a:gd name="connsiteY5" fmla="*/ 32536 h 65071"/>
                  <a:gd name="connsiteX6" fmla="*/ 92327 w 92327"/>
                  <a:gd name="connsiteY6" fmla="*/ 65072 h 65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327" h="65071">
                    <a:moveTo>
                      <a:pt x="92327" y="65072"/>
                    </a:moveTo>
                    <a:lnTo>
                      <a:pt x="32536" y="65072"/>
                    </a:lnTo>
                    <a:cubicBezTo>
                      <a:pt x="14565" y="65072"/>
                      <a:pt x="0" y="50506"/>
                      <a:pt x="0" y="32536"/>
                    </a:cubicBezTo>
                    <a:cubicBezTo>
                      <a:pt x="0" y="14565"/>
                      <a:pt x="14565" y="0"/>
                      <a:pt x="32536" y="0"/>
                    </a:cubicBezTo>
                    <a:lnTo>
                      <a:pt x="92327" y="0"/>
                    </a:lnTo>
                    <a:cubicBezTo>
                      <a:pt x="74357" y="0"/>
                      <a:pt x="59791" y="14565"/>
                      <a:pt x="59791" y="32536"/>
                    </a:cubicBezTo>
                    <a:cubicBezTo>
                      <a:pt x="59791" y="50506"/>
                      <a:pt x="74357" y="65072"/>
                      <a:pt x="92327" y="65072"/>
                    </a:cubicBezTo>
                    <a:close/>
                  </a:path>
                </a:pathLst>
              </a:custGeom>
              <a:solidFill>
                <a:srgbClr val="DFDFDF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</p:grpSp>
        <p:grpSp>
          <p:nvGrpSpPr>
            <p:cNvPr id="1031" name="Graphique 347">
              <a:extLst>
                <a:ext uri="{FF2B5EF4-FFF2-40B4-BE49-F238E27FC236}">
                  <a16:creationId xmlns:a16="http://schemas.microsoft.com/office/drawing/2014/main" id="{8FE2E978-F412-B8C8-2768-4ED99EA53433}"/>
                </a:ext>
              </a:extLst>
            </p:cNvPr>
            <p:cNvGrpSpPr/>
            <p:nvPr/>
          </p:nvGrpSpPr>
          <p:grpSpPr>
            <a:xfrm>
              <a:off x="1024768" y="3714678"/>
              <a:ext cx="374626" cy="690760"/>
              <a:chOff x="1024768" y="3714678"/>
              <a:chExt cx="374626" cy="690760"/>
            </a:xfrm>
          </p:grpSpPr>
          <p:sp>
            <p:nvSpPr>
              <p:cNvPr id="1032" name="Forme libre : forme 1031">
                <a:extLst>
                  <a:ext uri="{FF2B5EF4-FFF2-40B4-BE49-F238E27FC236}">
                    <a16:creationId xmlns:a16="http://schemas.microsoft.com/office/drawing/2014/main" id="{411A042C-0C21-B194-85B2-7B50D4719847}"/>
                  </a:ext>
                </a:extLst>
              </p:cNvPr>
              <p:cNvSpPr/>
              <p:nvPr/>
            </p:nvSpPr>
            <p:spPr>
              <a:xfrm>
                <a:off x="1064018" y="3952716"/>
                <a:ext cx="296120" cy="317288"/>
              </a:xfrm>
              <a:custGeom>
                <a:avLst/>
                <a:gdLst>
                  <a:gd name="connsiteX0" fmla="*/ 296120 w 296120"/>
                  <a:gd name="connsiteY0" fmla="*/ 290381 h 317288"/>
                  <a:gd name="connsiteX1" fmla="*/ 148060 w 296120"/>
                  <a:gd name="connsiteY1" fmla="*/ 317288 h 317288"/>
                  <a:gd name="connsiteX2" fmla="*/ 0 w 296120"/>
                  <a:gd name="connsiteY2" fmla="*/ 290381 h 317288"/>
                  <a:gd name="connsiteX3" fmla="*/ 72327 w 296120"/>
                  <a:gd name="connsiteY3" fmla="*/ 58735 h 317288"/>
                  <a:gd name="connsiteX4" fmla="*/ 72855 w 296120"/>
                  <a:gd name="connsiteY4" fmla="*/ 36400 h 317288"/>
                  <a:gd name="connsiteX5" fmla="*/ 148060 w 296120"/>
                  <a:gd name="connsiteY5" fmla="*/ 0 h 317288"/>
                  <a:gd name="connsiteX6" fmla="*/ 223279 w 296120"/>
                  <a:gd name="connsiteY6" fmla="*/ 36400 h 317288"/>
                  <a:gd name="connsiteX7" fmla="*/ 223806 w 296120"/>
                  <a:gd name="connsiteY7" fmla="*/ 58735 h 317288"/>
                  <a:gd name="connsiteX8" fmla="*/ 296120 w 296120"/>
                  <a:gd name="connsiteY8" fmla="*/ 290381 h 31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120" h="317288">
                    <a:moveTo>
                      <a:pt x="296120" y="290381"/>
                    </a:moveTo>
                    <a:lnTo>
                      <a:pt x="148060" y="317288"/>
                    </a:lnTo>
                    <a:lnTo>
                      <a:pt x="0" y="290381"/>
                    </a:lnTo>
                    <a:cubicBezTo>
                      <a:pt x="55581" y="264683"/>
                      <a:pt x="69674" y="123210"/>
                      <a:pt x="72327" y="58735"/>
                    </a:cubicBezTo>
                    <a:cubicBezTo>
                      <a:pt x="72716" y="49534"/>
                      <a:pt x="72855" y="41904"/>
                      <a:pt x="72855" y="36400"/>
                    </a:cubicBezTo>
                    <a:lnTo>
                      <a:pt x="148060" y="0"/>
                    </a:lnTo>
                    <a:lnTo>
                      <a:pt x="223279" y="36400"/>
                    </a:lnTo>
                    <a:cubicBezTo>
                      <a:pt x="223279" y="41903"/>
                      <a:pt x="223418" y="49534"/>
                      <a:pt x="223806" y="58735"/>
                    </a:cubicBezTo>
                    <a:cubicBezTo>
                      <a:pt x="226448" y="123210"/>
                      <a:pt x="240540" y="264684"/>
                      <a:pt x="296120" y="290381"/>
                    </a:cubicBezTo>
                    <a:close/>
                  </a:path>
                </a:pathLst>
              </a:custGeom>
              <a:solidFill>
                <a:srgbClr val="665E66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3" name="Forme libre : forme 1032">
                <a:extLst>
                  <a:ext uri="{FF2B5EF4-FFF2-40B4-BE49-F238E27FC236}">
                    <a16:creationId xmlns:a16="http://schemas.microsoft.com/office/drawing/2014/main" id="{133BE98A-0706-B4F9-27CE-31726A98061C}"/>
                  </a:ext>
                </a:extLst>
              </p:cNvPr>
              <p:cNvSpPr/>
              <p:nvPr/>
            </p:nvSpPr>
            <p:spPr>
              <a:xfrm>
                <a:off x="1136346" y="3952717"/>
                <a:ext cx="151478" cy="58748"/>
              </a:xfrm>
              <a:custGeom>
                <a:avLst/>
                <a:gdLst>
                  <a:gd name="connsiteX0" fmla="*/ 151479 w 151478"/>
                  <a:gd name="connsiteY0" fmla="*/ 58735 h 58748"/>
                  <a:gd name="connsiteX1" fmla="*/ 150951 w 151478"/>
                  <a:gd name="connsiteY1" fmla="*/ 58748 h 58748"/>
                  <a:gd name="connsiteX2" fmla="*/ 528 w 151478"/>
                  <a:gd name="connsiteY2" fmla="*/ 58748 h 58748"/>
                  <a:gd name="connsiteX3" fmla="*/ 0 w 151478"/>
                  <a:gd name="connsiteY3" fmla="*/ 58735 h 58748"/>
                  <a:gd name="connsiteX4" fmla="*/ 528 w 151478"/>
                  <a:gd name="connsiteY4" fmla="*/ 36400 h 58748"/>
                  <a:gd name="connsiteX5" fmla="*/ 75733 w 151478"/>
                  <a:gd name="connsiteY5" fmla="*/ 0 h 58748"/>
                  <a:gd name="connsiteX6" fmla="*/ 150951 w 151478"/>
                  <a:gd name="connsiteY6" fmla="*/ 36400 h 58748"/>
                  <a:gd name="connsiteX7" fmla="*/ 151479 w 151478"/>
                  <a:gd name="connsiteY7" fmla="*/ 58735 h 5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478" h="58748">
                    <a:moveTo>
                      <a:pt x="151479" y="58735"/>
                    </a:moveTo>
                    <a:cubicBezTo>
                      <a:pt x="151298" y="58748"/>
                      <a:pt x="151131" y="58748"/>
                      <a:pt x="150951" y="58748"/>
                    </a:cubicBezTo>
                    <a:lnTo>
                      <a:pt x="528" y="58748"/>
                    </a:lnTo>
                    <a:cubicBezTo>
                      <a:pt x="347" y="58748"/>
                      <a:pt x="179" y="58748"/>
                      <a:pt x="0" y="58735"/>
                    </a:cubicBezTo>
                    <a:cubicBezTo>
                      <a:pt x="389" y="49534"/>
                      <a:pt x="528" y="41904"/>
                      <a:pt x="528" y="36400"/>
                    </a:cubicBezTo>
                    <a:lnTo>
                      <a:pt x="75733" y="0"/>
                    </a:lnTo>
                    <a:lnTo>
                      <a:pt x="150951" y="36400"/>
                    </a:lnTo>
                    <a:cubicBezTo>
                      <a:pt x="150951" y="41903"/>
                      <a:pt x="151090" y="49534"/>
                      <a:pt x="151479" y="58735"/>
                    </a:cubicBezTo>
                    <a:close/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4" name="Forme libre : forme 1033">
                <a:extLst>
                  <a:ext uri="{FF2B5EF4-FFF2-40B4-BE49-F238E27FC236}">
                    <a16:creationId xmlns:a16="http://schemas.microsoft.com/office/drawing/2014/main" id="{49D05265-98E6-A4AD-60EC-49A01AD2CB51}"/>
                  </a:ext>
                </a:extLst>
              </p:cNvPr>
              <p:cNvSpPr/>
              <p:nvPr/>
            </p:nvSpPr>
            <p:spPr>
              <a:xfrm>
                <a:off x="1064024" y="3952720"/>
                <a:ext cx="148061" cy="317288"/>
              </a:xfrm>
              <a:custGeom>
                <a:avLst/>
                <a:gdLst>
                  <a:gd name="connsiteX0" fmla="*/ 81472 w 148061"/>
                  <a:gd name="connsiteY0" fmla="*/ 290381 h 317288"/>
                  <a:gd name="connsiteX1" fmla="*/ 148060 w 148061"/>
                  <a:gd name="connsiteY1" fmla="*/ 317288 h 317288"/>
                  <a:gd name="connsiteX2" fmla="*/ 0 w 148061"/>
                  <a:gd name="connsiteY2" fmla="*/ 290381 h 317288"/>
                  <a:gd name="connsiteX3" fmla="*/ 72856 w 148061"/>
                  <a:gd name="connsiteY3" fmla="*/ 36400 h 317288"/>
                  <a:gd name="connsiteX4" fmla="*/ 148061 w 148061"/>
                  <a:gd name="connsiteY4" fmla="*/ 0 h 317288"/>
                  <a:gd name="connsiteX5" fmla="*/ 114247 w 148061"/>
                  <a:gd name="connsiteY5" fmla="*/ 36400 h 317288"/>
                  <a:gd name="connsiteX6" fmla="*/ 81472 w 148061"/>
                  <a:gd name="connsiteY6" fmla="*/ 290381 h 31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061" h="317288">
                    <a:moveTo>
                      <a:pt x="81472" y="290381"/>
                    </a:moveTo>
                    <a:lnTo>
                      <a:pt x="148060" y="317288"/>
                    </a:lnTo>
                    <a:lnTo>
                      <a:pt x="0" y="290381"/>
                    </a:lnTo>
                    <a:cubicBezTo>
                      <a:pt x="63516" y="261013"/>
                      <a:pt x="72856" y="80486"/>
                      <a:pt x="72856" y="36400"/>
                    </a:cubicBezTo>
                    <a:lnTo>
                      <a:pt x="148061" y="0"/>
                    </a:lnTo>
                    <a:lnTo>
                      <a:pt x="114247" y="36400"/>
                    </a:lnTo>
                    <a:cubicBezTo>
                      <a:pt x="114245" y="80487"/>
                      <a:pt x="110048" y="261014"/>
                      <a:pt x="81472" y="290381"/>
                    </a:cubicBezTo>
                    <a:close/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5" name="Forme libre : forme 1034">
                <a:extLst>
                  <a:ext uri="{FF2B5EF4-FFF2-40B4-BE49-F238E27FC236}">
                    <a16:creationId xmlns:a16="http://schemas.microsoft.com/office/drawing/2014/main" id="{912D209D-C8CF-4A2E-4846-0CDFA4B70A1A}"/>
                  </a:ext>
                </a:extLst>
              </p:cNvPr>
              <p:cNvSpPr/>
              <p:nvPr/>
            </p:nvSpPr>
            <p:spPr>
              <a:xfrm>
                <a:off x="1064024" y="4243101"/>
                <a:ext cx="296114" cy="78885"/>
              </a:xfrm>
              <a:custGeom>
                <a:avLst/>
                <a:gdLst>
                  <a:gd name="connsiteX0" fmla="*/ 0 w 296114"/>
                  <a:gd name="connsiteY0" fmla="*/ 78886 h 78885"/>
                  <a:gd name="connsiteX1" fmla="*/ 0 w 296114"/>
                  <a:gd name="connsiteY1" fmla="*/ 0 h 78885"/>
                  <a:gd name="connsiteX2" fmla="*/ 296115 w 296114"/>
                  <a:gd name="connsiteY2" fmla="*/ 0 h 78885"/>
                  <a:gd name="connsiteX3" fmla="*/ 296115 w 296114"/>
                  <a:gd name="connsiteY3" fmla="*/ 78886 h 7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6114" h="78885">
                    <a:moveTo>
                      <a:pt x="0" y="78886"/>
                    </a:moveTo>
                    <a:lnTo>
                      <a:pt x="0" y="0"/>
                    </a:lnTo>
                    <a:lnTo>
                      <a:pt x="296115" y="0"/>
                    </a:lnTo>
                    <a:lnTo>
                      <a:pt x="296115" y="78886"/>
                    </a:lnTo>
                  </a:path>
                </a:pathLst>
              </a:custGeom>
              <a:solidFill>
                <a:srgbClr val="665E66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6" name="Forme libre : forme 1035">
                <a:extLst>
                  <a:ext uri="{FF2B5EF4-FFF2-40B4-BE49-F238E27FC236}">
                    <a16:creationId xmlns:a16="http://schemas.microsoft.com/office/drawing/2014/main" id="{D21F0DF7-2B4F-C0BF-7CB7-2FA70F284693}"/>
                  </a:ext>
                </a:extLst>
              </p:cNvPr>
              <p:cNvSpPr/>
              <p:nvPr/>
            </p:nvSpPr>
            <p:spPr>
              <a:xfrm>
                <a:off x="1064024" y="4243101"/>
                <a:ext cx="81470" cy="78885"/>
              </a:xfrm>
              <a:custGeom>
                <a:avLst/>
                <a:gdLst>
                  <a:gd name="connsiteX0" fmla="*/ 0 w 81470"/>
                  <a:gd name="connsiteY0" fmla="*/ 78886 h 78885"/>
                  <a:gd name="connsiteX1" fmla="*/ 0 w 81470"/>
                  <a:gd name="connsiteY1" fmla="*/ 0 h 78885"/>
                  <a:gd name="connsiteX2" fmla="*/ 81471 w 81470"/>
                  <a:gd name="connsiteY2" fmla="*/ 0 h 78885"/>
                  <a:gd name="connsiteX3" fmla="*/ 81471 w 81470"/>
                  <a:gd name="connsiteY3" fmla="*/ 78886 h 7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470" h="78885">
                    <a:moveTo>
                      <a:pt x="0" y="78886"/>
                    </a:moveTo>
                    <a:lnTo>
                      <a:pt x="0" y="0"/>
                    </a:lnTo>
                    <a:lnTo>
                      <a:pt x="81471" y="0"/>
                    </a:lnTo>
                    <a:lnTo>
                      <a:pt x="81471" y="78886"/>
                    </a:lnTo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7" name="Forme libre : forme 1036">
                <a:extLst>
                  <a:ext uri="{FF2B5EF4-FFF2-40B4-BE49-F238E27FC236}">
                    <a16:creationId xmlns:a16="http://schemas.microsoft.com/office/drawing/2014/main" id="{3104A58B-910B-F5A0-B3A7-B106BFAADE5B}"/>
                  </a:ext>
                </a:extLst>
              </p:cNvPr>
              <p:cNvSpPr/>
              <p:nvPr/>
            </p:nvSpPr>
            <p:spPr>
              <a:xfrm>
                <a:off x="1024768" y="4293605"/>
                <a:ext cx="374626" cy="111827"/>
              </a:xfrm>
              <a:custGeom>
                <a:avLst/>
                <a:gdLst>
                  <a:gd name="connsiteX0" fmla="*/ 335371 w 374626"/>
                  <a:gd name="connsiteY0" fmla="*/ 0 h 111827"/>
                  <a:gd name="connsiteX1" fmla="*/ 39256 w 374626"/>
                  <a:gd name="connsiteY1" fmla="*/ 0 h 111827"/>
                  <a:gd name="connsiteX2" fmla="*/ 0 w 374626"/>
                  <a:gd name="connsiteY2" fmla="*/ 39256 h 111827"/>
                  <a:gd name="connsiteX3" fmla="*/ 0 w 374626"/>
                  <a:gd name="connsiteY3" fmla="*/ 111828 h 111827"/>
                  <a:gd name="connsiteX4" fmla="*/ 374627 w 374626"/>
                  <a:gd name="connsiteY4" fmla="*/ 111828 h 111827"/>
                  <a:gd name="connsiteX5" fmla="*/ 374627 w 374626"/>
                  <a:gd name="connsiteY5" fmla="*/ 39256 h 111827"/>
                  <a:gd name="connsiteX6" fmla="*/ 335371 w 374626"/>
                  <a:gd name="connsiteY6" fmla="*/ 0 h 111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4626" h="111827">
                    <a:moveTo>
                      <a:pt x="335371" y="0"/>
                    </a:moveTo>
                    <a:lnTo>
                      <a:pt x="39256" y="0"/>
                    </a:lnTo>
                    <a:cubicBezTo>
                      <a:pt x="17575" y="0"/>
                      <a:pt x="0" y="17575"/>
                      <a:pt x="0" y="39256"/>
                    </a:cubicBezTo>
                    <a:lnTo>
                      <a:pt x="0" y="111828"/>
                    </a:lnTo>
                    <a:lnTo>
                      <a:pt x="374627" y="111828"/>
                    </a:lnTo>
                    <a:lnTo>
                      <a:pt x="374627" y="39256"/>
                    </a:lnTo>
                    <a:cubicBezTo>
                      <a:pt x="374627" y="17575"/>
                      <a:pt x="357051" y="0"/>
                      <a:pt x="335371" y="0"/>
                    </a:cubicBezTo>
                    <a:close/>
                  </a:path>
                </a:pathLst>
              </a:custGeom>
              <a:solidFill>
                <a:srgbClr val="665E66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8" name="Forme libre : forme 1037">
                <a:extLst>
                  <a:ext uri="{FF2B5EF4-FFF2-40B4-BE49-F238E27FC236}">
                    <a16:creationId xmlns:a16="http://schemas.microsoft.com/office/drawing/2014/main" id="{3BB63022-CF1C-E88B-3066-D0A056F16684}"/>
                  </a:ext>
                </a:extLst>
              </p:cNvPr>
              <p:cNvSpPr/>
              <p:nvPr/>
            </p:nvSpPr>
            <p:spPr>
              <a:xfrm>
                <a:off x="1024768" y="4293610"/>
                <a:ext cx="173286" cy="111827"/>
              </a:xfrm>
              <a:custGeom>
                <a:avLst/>
                <a:gdLst>
                  <a:gd name="connsiteX0" fmla="*/ 173286 w 173286"/>
                  <a:gd name="connsiteY0" fmla="*/ 0 h 111827"/>
                  <a:gd name="connsiteX1" fmla="*/ 134024 w 173286"/>
                  <a:gd name="connsiteY1" fmla="*/ 39249 h 111827"/>
                  <a:gd name="connsiteX2" fmla="*/ 134024 w 173286"/>
                  <a:gd name="connsiteY2" fmla="*/ 111828 h 111827"/>
                  <a:gd name="connsiteX3" fmla="*/ 0 w 173286"/>
                  <a:gd name="connsiteY3" fmla="*/ 111828 h 111827"/>
                  <a:gd name="connsiteX4" fmla="*/ 0 w 173286"/>
                  <a:gd name="connsiteY4" fmla="*/ 39249 h 111827"/>
                  <a:gd name="connsiteX5" fmla="*/ 39249 w 173286"/>
                  <a:gd name="connsiteY5" fmla="*/ 0 h 111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286" h="111827">
                    <a:moveTo>
                      <a:pt x="173286" y="0"/>
                    </a:moveTo>
                    <a:cubicBezTo>
                      <a:pt x="151604" y="0"/>
                      <a:pt x="134024" y="17567"/>
                      <a:pt x="134024" y="39249"/>
                    </a:cubicBezTo>
                    <a:lnTo>
                      <a:pt x="134024" y="111828"/>
                    </a:lnTo>
                    <a:lnTo>
                      <a:pt x="0" y="111828"/>
                    </a:lnTo>
                    <a:lnTo>
                      <a:pt x="0" y="39249"/>
                    </a:lnTo>
                    <a:cubicBezTo>
                      <a:pt x="0" y="17567"/>
                      <a:pt x="17582" y="0"/>
                      <a:pt x="39249" y="0"/>
                    </a:cubicBezTo>
                    <a:close/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39" name="Forme libre : forme 1038">
                <a:extLst>
                  <a:ext uri="{FF2B5EF4-FFF2-40B4-BE49-F238E27FC236}">
                    <a16:creationId xmlns:a16="http://schemas.microsoft.com/office/drawing/2014/main" id="{CB33D894-E4FC-C7E3-80F2-18ABB3031D3E}"/>
                  </a:ext>
                </a:extLst>
              </p:cNvPr>
              <p:cNvSpPr/>
              <p:nvPr/>
            </p:nvSpPr>
            <p:spPr>
              <a:xfrm>
                <a:off x="1100471" y="3883068"/>
                <a:ext cx="223218" cy="106053"/>
              </a:xfrm>
              <a:custGeom>
                <a:avLst/>
                <a:gdLst>
                  <a:gd name="connsiteX0" fmla="*/ 0 w 223218"/>
                  <a:gd name="connsiteY0" fmla="*/ 69653 h 106053"/>
                  <a:gd name="connsiteX1" fmla="*/ 36400 w 223218"/>
                  <a:gd name="connsiteY1" fmla="*/ 33254 h 106053"/>
                  <a:gd name="connsiteX2" fmla="*/ 111606 w 223218"/>
                  <a:gd name="connsiteY2" fmla="*/ 0 h 106053"/>
                  <a:gd name="connsiteX3" fmla="*/ 186818 w 223218"/>
                  <a:gd name="connsiteY3" fmla="*/ 33254 h 106053"/>
                  <a:gd name="connsiteX4" fmla="*/ 223218 w 223218"/>
                  <a:gd name="connsiteY4" fmla="*/ 69653 h 106053"/>
                  <a:gd name="connsiteX5" fmla="*/ 186818 w 223218"/>
                  <a:gd name="connsiteY5" fmla="*/ 106053 h 106053"/>
                  <a:gd name="connsiteX6" fmla="*/ 36401 w 223218"/>
                  <a:gd name="connsiteY6" fmla="*/ 106053 h 106053"/>
                  <a:gd name="connsiteX7" fmla="*/ 0 w 223218"/>
                  <a:gd name="connsiteY7" fmla="*/ 69653 h 10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218" h="106053">
                    <a:moveTo>
                      <a:pt x="0" y="69653"/>
                    </a:moveTo>
                    <a:cubicBezTo>
                      <a:pt x="0" y="49550"/>
                      <a:pt x="16298" y="33254"/>
                      <a:pt x="36400" y="33254"/>
                    </a:cubicBezTo>
                    <a:lnTo>
                      <a:pt x="111606" y="0"/>
                    </a:lnTo>
                    <a:lnTo>
                      <a:pt x="186818" y="33254"/>
                    </a:lnTo>
                    <a:cubicBezTo>
                      <a:pt x="206922" y="33254"/>
                      <a:pt x="223218" y="49551"/>
                      <a:pt x="223218" y="69653"/>
                    </a:cubicBezTo>
                    <a:cubicBezTo>
                      <a:pt x="223218" y="89757"/>
                      <a:pt x="206922" y="106053"/>
                      <a:pt x="186818" y="106053"/>
                    </a:cubicBezTo>
                    <a:lnTo>
                      <a:pt x="36401" y="106053"/>
                    </a:lnTo>
                    <a:cubicBezTo>
                      <a:pt x="16298" y="106053"/>
                      <a:pt x="0" y="89756"/>
                      <a:pt x="0" y="69653"/>
                    </a:cubicBezTo>
                    <a:close/>
                  </a:path>
                </a:pathLst>
              </a:custGeom>
              <a:solidFill>
                <a:srgbClr val="665E66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0" name="Forme libre : forme 1039">
                <a:extLst>
                  <a:ext uri="{FF2B5EF4-FFF2-40B4-BE49-F238E27FC236}">
                    <a16:creationId xmlns:a16="http://schemas.microsoft.com/office/drawing/2014/main" id="{388800C0-E11A-0921-A903-1B90866C647B}"/>
                  </a:ext>
                </a:extLst>
              </p:cNvPr>
              <p:cNvSpPr/>
              <p:nvPr/>
            </p:nvSpPr>
            <p:spPr>
              <a:xfrm>
                <a:off x="1100472" y="3916321"/>
                <a:ext cx="95134" cy="72799"/>
              </a:xfrm>
              <a:custGeom>
                <a:avLst/>
                <a:gdLst>
                  <a:gd name="connsiteX0" fmla="*/ 95135 w 95134"/>
                  <a:gd name="connsiteY0" fmla="*/ 72800 h 72799"/>
                  <a:gd name="connsiteX1" fmla="*/ 36400 w 95134"/>
                  <a:gd name="connsiteY1" fmla="*/ 72800 h 72799"/>
                  <a:gd name="connsiteX2" fmla="*/ 0 w 95134"/>
                  <a:gd name="connsiteY2" fmla="*/ 36400 h 72799"/>
                  <a:gd name="connsiteX3" fmla="*/ 36400 w 95134"/>
                  <a:gd name="connsiteY3" fmla="*/ 0 h 72799"/>
                  <a:gd name="connsiteX4" fmla="*/ 95135 w 95134"/>
                  <a:gd name="connsiteY4" fmla="*/ 0 h 72799"/>
                  <a:gd name="connsiteX5" fmla="*/ 58735 w 95134"/>
                  <a:gd name="connsiteY5" fmla="*/ 36400 h 72799"/>
                  <a:gd name="connsiteX6" fmla="*/ 95135 w 95134"/>
                  <a:gd name="connsiteY6" fmla="*/ 72800 h 7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134" h="72799">
                    <a:moveTo>
                      <a:pt x="95135" y="72800"/>
                    </a:moveTo>
                    <a:lnTo>
                      <a:pt x="36400" y="72800"/>
                    </a:lnTo>
                    <a:cubicBezTo>
                      <a:pt x="16303" y="72800"/>
                      <a:pt x="0" y="56510"/>
                      <a:pt x="0" y="36400"/>
                    </a:cubicBezTo>
                    <a:cubicBezTo>
                      <a:pt x="0" y="16303"/>
                      <a:pt x="16303" y="0"/>
                      <a:pt x="36400" y="0"/>
                    </a:cubicBezTo>
                    <a:lnTo>
                      <a:pt x="95135" y="0"/>
                    </a:lnTo>
                    <a:cubicBezTo>
                      <a:pt x="75038" y="0"/>
                      <a:pt x="58735" y="16303"/>
                      <a:pt x="58735" y="36400"/>
                    </a:cubicBezTo>
                    <a:cubicBezTo>
                      <a:pt x="58733" y="56510"/>
                      <a:pt x="75037" y="72800"/>
                      <a:pt x="95135" y="72800"/>
                    </a:cubicBezTo>
                    <a:close/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1" name="Forme libre : forme 1040">
                <a:extLst>
                  <a:ext uri="{FF2B5EF4-FFF2-40B4-BE49-F238E27FC236}">
                    <a16:creationId xmlns:a16="http://schemas.microsoft.com/office/drawing/2014/main" id="{3D903D63-3B40-66D4-14DC-CE8F1D2F008B}"/>
                  </a:ext>
                </a:extLst>
              </p:cNvPr>
              <p:cNvSpPr/>
              <p:nvPr/>
            </p:nvSpPr>
            <p:spPr>
              <a:xfrm>
                <a:off x="1058716" y="3714678"/>
                <a:ext cx="306725" cy="201638"/>
              </a:xfrm>
              <a:custGeom>
                <a:avLst/>
                <a:gdLst>
                  <a:gd name="connsiteX0" fmla="*/ 293271 w 306725"/>
                  <a:gd name="connsiteY0" fmla="*/ 0 h 201638"/>
                  <a:gd name="connsiteX1" fmla="*/ 306670 w 306725"/>
                  <a:gd name="connsiteY1" fmla="*/ 14665 h 201638"/>
                  <a:gd name="connsiteX2" fmla="*/ 294570 w 306725"/>
                  <a:gd name="connsiteY2" fmla="*/ 148380 h 201638"/>
                  <a:gd name="connsiteX3" fmla="*/ 236266 w 306725"/>
                  <a:gd name="connsiteY3" fmla="*/ 201639 h 201638"/>
                  <a:gd name="connsiteX4" fmla="*/ 70471 w 306725"/>
                  <a:gd name="connsiteY4" fmla="*/ 201639 h 201638"/>
                  <a:gd name="connsiteX5" fmla="*/ 12167 w 306725"/>
                  <a:gd name="connsiteY5" fmla="*/ 148380 h 201638"/>
                  <a:gd name="connsiteX6" fmla="*/ 56 w 306725"/>
                  <a:gd name="connsiteY6" fmla="*/ 14667 h 201638"/>
                  <a:gd name="connsiteX7" fmla="*/ 13454 w 306725"/>
                  <a:gd name="connsiteY7" fmla="*/ 0 h 201638"/>
                  <a:gd name="connsiteX8" fmla="*/ 38042 w 306725"/>
                  <a:gd name="connsiteY8" fmla="*/ 0 h 201638"/>
                  <a:gd name="connsiteX9" fmla="*/ 51377 w 306725"/>
                  <a:gd name="connsiteY9" fmla="*/ 11673 h 201638"/>
                  <a:gd name="connsiteX10" fmla="*/ 58502 w 306725"/>
                  <a:gd name="connsiteY10" fmla="*/ 65039 h 201638"/>
                  <a:gd name="connsiteX11" fmla="*/ 82434 w 306725"/>
                  <a:gd name="connsiteY11" fmla="*/ 85989 h 201638"/>
                  <a:gd name="connsiteX12" fmla="*/ 106580 w 306725"/>
                  <a:gd name="connsiteY12" fmla="*/ 61843 h 201638"/>
                  <a:gd name="connsiteX13" fmla="*/ 106580 w 306725"/>
                  <a:gd name="connsiteY13" fmla="*/ 13454 h 201638"/>
                  <a:gd name="connsiteX14" fmla="*/ 120034 w 306725"/>
                  <a:gd name="connsiteY14" fmla="*/ 0 h 201638"/>
                  <a:gd name="connsiteX15" fmla="*/ 186705 w 306725"/>
                  <a:gd name="connsiteY15" fmla="*/ 0 h 201638"/>
                  <a:gd name="connsiteX16" fmla="*/ 200159 w 306725"/>
                  <a:gd name="connsiteY16" fmla="*/ 13454 h 201638"/>
                  <a:gd name="connsiteX17" fmla="*/ 200159 w 306725"/>
                  <a:gd name="connsiteY17" fmla="*/ 61845 h 201638"/>
                  <a:gd name="connsiteX18" fmla="*/ 224305 w 306725"/>
                  <a:gd name="connsiteY18" fmla="*/ 85990 h 201638"/>
                  <a:gd name="connsiteX19" fmla="*/ 248237 w 306725"/>
                  <a:gd name="connsiteY19" fmla="*/ 65041 h 201638"/>
                  <a:gd name="connsiteX20" fmla="*/ 255362 w 306725"/>
                  <a:gd name="connsiteY20" fmla="*/ 11674 h 201638"/>
                  <a:gd name="connsiteX21" fmla="*/ 268697 w 306725"/>
                  <a:gd name="connsiteY21" fmla="*/ 0 h 201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6725" h="201638">
                    <a:moveTo>
                      <a:pt x="293271" y="0"/>
                    </a:moveTo>
                    <a:cubicBezTo>
                      <a:pt x="301180" y="0"/>
                      <a:pt x="307382" y="6789"/>
                      <a:pt x="306670" y="14665"/>
                    </a:cubicBezTo>
                    <a:lnTo>
                      <a:pt x="294570" y="148380"/>
                    </a:lnTo>
                    <a:cubicBezTo>
                      <a:pt x="291832" y="178540"/>
                      <a:pt x="266552" y="201639"/>
                      <a:pt x="236266" y="201639"/>
                    </a:cubicBezTo>
                    <a:lnTo>
                      <a:pt x="70471" y="201639"/>
                    </a:lnTo>
                    <a:cubicBezTo>
                      <a:pt x="40187" y="201639"/>
                      <a:pt x="14891" y="178540"/>
                      <a:pt x="12167" y="148380"/>
                    </a:cubicBezTo>
                    <a:lnTo>
                      <a:pt x="56" y="14667"/>
                    </a:lnTo>
                    <a:cubicBezTo>
                      <a:pt x="-657" y="6790"/>
                      <a:pt x="5545" y="0"/>
                      <a:pt x="13454" y="0"/>
                    </a:cubicBezTo>
                    <a:lnTo>
                      <a:pt x="38042" y="0"/>
                    </a:lnTo>
                    <a:cubicBezTo>
                      <a:pt x="44784" y="0"/>
                      <a:pt x="50485" y="4990"/>
                      <a:pt x="51377" y="11673"/>
                    </a:cubicBezTo>
                    <a:lnTo>
                      <a:pt x="58502" y="65039"/>
                    </a:lnTo>
                    <a:cubicBezTo>
                      <a:pt x="60103" y="77033"/>
                      <a:pt x="70335" y="85989"/>
                      <a:pt x="82434" y="85989"/>
                    </a:cubicBezTo>
                    <a:cubicBezTo>
                      <a:pt x="95769" y="85989"/>
                      <a:pt x="106580" y="75178"/>
                      <a:pt x="106580" y="61843"/>
                    </a:cubicBezTo>
                    <a:lnTo>
                      <a:pt x="106580" y="13454"/>
                    </a:lnTo>
                    <a:cubicBezTo>
                      <a:pt x="106580" y="6024"/>
                      <a:pt x="112602" y="0"/>
                      <a:pt x="120034" y="0"/>
                    </a:cubicBezTo>
                    <a:lnTo>
                      <a:pt x="186705" y="0"/>
                    </a:lnTo>
                    <a:cubicBezTo>
                      <a:pt x="194135" y="0"/>
                      <a:pt x="200159" y="6023"/>
                      <a:pt x="200159" y="13454"/>
                    </a:cubicBezTo>
                    <a:lnTo>
                      <a:pt x="200159" y="61845"/>
                    </a:lnTo>
                    <a:cubicBezTo>
                      <a:pt x="200159" y="75180"/>
                      <a:pt x="210970" y="85990"/>
                      <a:pt x="224305" y="85990"/>
                    </a:cubicBezTo>
                    <a:cubicBezTo>
                      <a:pt x="236405" y="85990"/>
                      <a:pt x="246637" y="77033"/>
                      <a:pt x="248237" y="65041"/>
                    </a:cubicBezTo>
                    <a:lnTo>
                      <a:pt x="255362" y="11674"/>
                    </a:lnTo>
                    <a:cubicBezTo>
                      <a:pt x="256254" y="4990"/>
                      <a:pt x="261955" y="0"/>
                      <a:pt x="268697" y="0"/>
                    </a:cubicBezTo>
                    <a:close/>
                  </a:path>
                </a:pathLst>
              </a:custGeom>
              <a:solidFill>
                <a:srgbClr val="665E66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042" name="Forme libre : forme 1041">
                <a:extLst>
                  <a:ext uri="{FF2B5EF4-FFF2-40B4-BE49-F238E27FC236}">
                    <a16:creationId xmlns:a16="http://schemas.microsoft.com/office/drawing/2014/main" id="{45AC9EF3-106E-E0F5-38C5-4CE674391E8A}"/>
                  </a:ext>
                </a:extLst>
              </p:cNvPr>
              <p:cNvSpPr/>
              <p:nvPr/>
            </p:nvSpPr>
            <p:spPr>
              <a:xfrm>
                <a:off x="1058717" y="3714678"/>
                <a:ext cx="160130" cy="201638"/>
              </a:xfrm>
              <a:custGeom>
                <a:avLst/>
                <a:gdLst>
                  <a:gd name="connsiteX0" fmla="*/ 160130 w 160130"/>
                  <a:gd name="connsiteY0" fmla="*/ 201639 h 201638"/>
                  <a:gd name="connsiteX1" fmla="*/ 70472 w 160130"/>
                  <a:gd name="connsiteY1" fmla="*/ 201639 h 201638"/>
                  <a:gd name="connsiteX2" fmla="*/ 12167 w 160130"/>
                  <a:gd name="connsiteY2" fmla="*/ 148380 h 201638"/>
                  <a:gd name="connsiteX3" fmla="*/ 56 w 160130"/>
                  <a:gd name="connsiteY3" fmla="*/ 14667 h 201638"/>
                  <a:gd name="connsiteX4" fmla="*/ 13453 w 160130"/>
                  <a:gd name="connsiteY4" fmla="*/ 0 h 201638"/>
                  <a:gd name="connsiteX5" fmla="*/ 38041 w 160130"/>
                  <a:gd name="connsiteY5" fmla="*/ 0 h 201638"/>
                  <a:gd name="connsiteX6" fmla="*/ 51376 w 160130"/>
                  <a:gd name="connsiteY6" fmla="*/ 11673 h 201638"/>
                  <a:gd name="connsiteX7" fmla="*/ 58503 w 160130"/>
                  <a:gd name="connsiteY7" fmla="*/ 65045 h 201638"/>
                  <a:gd name="connsiteX8" fmla="*/ 82437 w 160130"/>
                  <a:gd name="connsiteY8" fmla="*/ 85990 h 201638"/>
                  <a:gd name="connsiteX9" fmla="*/ 95807 w 160130"/>
                  <a:gd name="connsiteY9" fmla="*/ 81945 h 201638"/>
                  <a:gd name="connsiteX10" fmla="*/ 101826 w 160130"/>
                  <a:gd name="connsiteY10" fmla="*/ 148380 h 201638"/>
                  <a:gd name="connsiteX11" fmla="*/ 160130 w 160130"/>
                  <a:gd name="connsiteY11" fmla="*/ 201639 h 201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130" h="201638">
                    <a:moveTo>
                      <a:pt x="160130" y="201639"/>
                    </a:moveTo>
                    <a:lnTo>
                      <a:pt x="70472" y="201639"/>
                    </a:lnTo>
                    <a:cubicBezTo>
                      <a:pt x="40187" y="201639"/>
                      <a:pt x="14891" y="178540"/>
                      <a:pt x="12167" y="148380"/>
                    </a:cubicBezTo>
                    <a:lnTo>
                      <a:pt x="56" y="14667"/>
                    </a:lnTo>
                    <a:cubicBezTo>
                      <a:pt x="-658" y="6790"/>
                      <a:pt x="5544" y="0"/>
                      <a:pt x="13453" y="0"/>
                    </a:cubicBezTo>
                    <a:lnTo>
                      <a:pt x="38041" y="0"/>
                    </a:lnTo>
                    <a:cubicBezTo>
                      <a:pt x="44783" y="0"/>
                      <a:pt x="50483" y="4990"/>
                      <a:pt x="51376" y="11673"/>
                    </a:cubicBezTo>
                    <a:lnTo>
                      <a:pt x="58503" y="65045"/>
                    </a:lnTo>
                    <a:cubicBezTo>
                      <a:pt x="60102" y="77039"/>
                      <a:pt x="70331" y="85990"/>
                      <a:pt x="82437" y="85990"/>
                    </a:cubicBezTo>
                    <a:cubicBezTo>
                      <a:pt x="87371" y="85990"/>
                      <a:pt x="91985" y="84503"/>
                      <a:pt x="95807" y="81945"/>
                    </a:cubicBezTo>
                    <a:lnTo>
                      <a:pt x="101826" y="148380"/>
                    </a:lnTo>
                    <a:cubicBezTo>
                      <a:pt x="104550" y="178540"/>
                      <a:pt x="129845" y="201639"/>
                      <a:pt x="160130" y="201639"/>
                    </a:cubicBezTo>
                    <a:close/>
                  </a:path>
                </a:pathLst>
              </a:custGeom>
              <a:solidFill>
                <a:srgbClr val="454045"/>
              </a:solidFill>
              <a:ln w="13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</p:grpSp>
      </p:grpSp>
      <p:grpSp>
        <p:nvGrpSpPr>
          <p:cNvPr id="1062" name="Graphique 612">
            <a:extLst>
              <a:ext uri="{FF2B5EF4-FFF2-40B4-BE49-F238E27FC236}">
                <a16:creationId xmlns:a16="http://schemas.microsoft.com/office/drawing/2014/main" id="{53A22B3D-502C-B1F1-63E4-8E8F428F8EE7}"/>
              </a:ext>
            </a:extLst>
          </p:cNvPr>
          <p:cNvGrpSpPr/>
          <p:nvPr/>
        </p:nvGrpSpPr>
        <p:grpSpPr>
          <a:xfrm>
            <a:off x="61899" y="1649527"/>
            <a:ext cx="315312" cy="280540"/>
            <a:chOff x="12117873" y="778365"/>
            <a:chExt cx="4876815" cy="4876800"/>
          </a:xfrm>
        </p:grpSpPr>
        <p:sp>
          <p:nvSpPr>
            <p:cNvPr id="1063" name="Forme libre : forme 7">
              <a:extLst>
                <a:ext uri="{FF2B5EF4-FFF2-40B4-BE49-F238E27FC236}">
                  <a16:creationId xmlns:a16="http://schemas.microsoft.com/office/drawing/2014/main" id="{C198A6F5-1D15-D98A-84C4-03E692D4FB52}"/>
                </a:ext>
              </a:extLst>
            </p:cNvPr>
            <p:cNvSpPr/>
            <p:nvPr/>
          </p:nvSpPr>
          <p:spPr>
            <a:xfrm>
              <a:off x="12117873" y="1591165"/>
              <a:ext cx="4064000" cy="4064000"/>
            </a:xfrm>
            <a:custGeom>
              <a:avLst/>
              <a:gdLst>
                <a:gd name="connsiteX0" fmla="*/ 2032000 w 4064000"/>
                <a:gd name="connsiteY0" fmla="*/ 4064000 h 4064000"/>
                <a:gd name="connsiteX1" fmla="*/ 0 w 4064000"/>
                <a:gd name="connsiteY1" fmla="*/ 2032000 h 4064000"/>
                <a:gd name="connsiteX2" fmla="*/ 2032000 w 4064000"/>
                <a:gd name="connsiteY2" fmla="*/ 0 h 4064000"/>
                <a:gd name="connsiteX3" fmla="*/ 4064000 w 4064000"/>
                <a:gd name="connsiteY3" fmla="*/ 2032000 h 4064000"/>
                <a:gd name="connsiteX4" fmla="*/ 2032000 w 4064000"/>
                <a:gd name="connsiteY4" fmla="*/ 4064000 h 40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00" h="4064000">
                  <a:moveTo>
                    <a:pt x="2032000" y="4064000"/>
                  </a:moveTo>
                  <a:cubicBezTo>
                    <a:pt x="911555" y="4064000"/>
                    <a:pt x="0" y="3152445"/>
                    <a:pt x="0" y="2032000"/>
                  </a:cubicBezTo>
                  <a:cubicBezTo>
                    <a:pt x="0" y="911555"/>
                    <a:pt x="911555" y="0"/>
                    <a:pt x="2032000" y="0"/>
                  </a:cubicBezTo>
                  <a:cubicBezTo>
                    <a:pt x="3152445" y="0"/>
                    <a:pt x="4064000" y="911555"/>
                    <a:pt x="4064000" y="2032000"/>
                  </a:cubicBezTo>
                  <a:cubicBezTo>
                    <a:pt x="4064000" y="3152445"/>
                    <a:pt x="3152445" y="4064000"/>
                    <a:pt x="2032000" y="4064000"/>
                  </a:cubicBezTo>
                  <a:close/>
                </a:path>
              </a:pathLst>
            </a:custGeom>
            <a:solidFill>
              <a:srgbClr val="FAFAFA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grpSp>
          <p:nvGrpSpPr>
            <p:cNvPr id="1064" name="Graphique 612">
              <a:extLst>
                <a:ext uri="{FF2B5EF4-FFF2-40B4-BE49-F238E27FC236}">
                  <a16:creationId xmlns:a16="http://schemas.microsoft.com/office/drawing/2014/main" id="{E4D11405-5BAE-205E-4E0B-050BF798707F}"/>
                </a:ext>
              </a:extLst>
            </p:cNvPr>
            <p:cNvGrpSpPr/>
            <p:nvPr/>
          </p:nvGrpSpPr>
          <p:grpSpPr>
            <a:xfrm>
              <a:off x="12117873" y="1591165"/>
              <a:ext cx="4064000" cy="4064000"/>
              <a:chOff x="12117873" y="1591165"/>
              <a:chExt cx="4064000" cy="4064000"/>
            </a:xfrm>
            <a:solidFill>
              <a:srgbClr val="F44336"/>
            </a:solidFill>
          </p:grpSpPr>
          <p:sp>
            <p:nvSpPr>
              <p:cNvPr id="1075" name="Forme libre : forme 19">
                <a:extLst>
                  <a:ext uri="{FF2B5EF4-FFF2-40B4-BE49-F238E27FC236}">
                    <a16:creationId xmlns:a16="http://schemas.microsoft.com/office/drawing/2014/main" id="{7453AF3A-4BFF-1B56-DA91-FAAE49A480E6}"/>
                  </a:ext>
                </a:extLst>
              </p:cNvPr>
              <p:cNvSpPr/>
              <p:nvPr/>
            </p:nvSpPr>
            <p:spPr>
              <a:xfrm>
                <a:off x="12117873" y="1591165"/>
                <a:ext cx="4064000" cy="4064000"/>
              </a:xfrm>
              <a:custGeom>
                <a:avLst/>
                <a:gdLst>
                  <a:gd name="connsiteX0" fmla="*/ 2032000 w 4064000"/>
                  <a:gd name="connsiteY0" fmla="*/ 4064000 h 4064000"/>
                  <a:gd name="connsiteX1" fmla="*/ 0 w 4064000"/>
                  <a:gd name="connsiteY1" fmla="*/ 2032000 h 4064000"/>
                  <a:gd name="connsiteX2" fmla="*/ 2032000 w 4064000"/>
                  <a:gd name="connsiteY2" fmla="*/ 0 h 4064000"/>
                  <a:gd name="connsiteX3" fmla="*/ 4064000 w 4064000"/>
                  <a:gd name="connsiteY3" fmla="*/ 2032000 h 4064000"/>
                  <a:gd name="connsiteX4" fmla="*/ 2032000 w 4064000"/>
                  <a:gd name="connsiteY4" fmla="*/ 4064000 h 4064000"/>
                  <a:gd name="connsiteX5" fmla="*/ 2032000 w 4064000"/>
                  <a:gd name="connsiteY5" fmla="*/ 304800 h 4064000"/>
                  <a:gd name="connsiteX6" fmla="*/ 304800 w 4064000"/>
                  <a:gd name="connsiteY6" fmla="*/ 2032000 h 4064000"/>
                  <a:gd name="connsiteX7" fmla="*/ 2032000 w 4064000"/>
                  <a:gd name="connsiteY7" fmla="*/ 3759200 h 4064000"/>
                  <a:gd name="connsiteX8" fmla="*/ 3759200 w 4064000"/>
                  <a:gd name="connsiteY8" fmla="*/ 2032000 h 4064000"/>
                  <a:gd name="connsiteX9" fmla="*/ 2032000 w 4064000"/>
                  <a:gd name="connsiteY9" fmla="*/ 304800 h 406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64000" h="4064000">
                    <a:moveTo>
                      <a:pt x="2032000" y="4064000"/>
                    </a:moveTo>
                    <a:cubicBezTo>
                      <a:pt x="911555" y="4064000"/>
                      <a:pt x="0" y="3152445"/>
                      <a:pt x="0" y="2032000"/>
                    </a:cubicBezTo>
                    <a:cubicBezTo>
                      <a:pt x="0" y="911555"/>
                      <a:pt x="911555" y="0"/>
                      <a:pt x="2032000" y="0"/>
                    </a:cubicBezTo>
                    <a:cubicBezTo>
                      <a:pt x="3152445" y="0"/>
                      <a:pt x="4064000" y="911555"/>
                      <a:pt x="4064000" y="2032000"/>
                    </a:cubicBezTo>
                    <a:cubicBezTo>
                      <a:pt x="4064000" y="3152445"/>
                      <a:pt x="3152445" y="4064000"/>
                      <a:pt x="2032000" y="4064000"/>
                    </a:cubicBezTo>
                    <a:close/>
                    <a:moveTo>
                      <a:pt x="2032000" y="304800"/>
                    </a:moveTo>
                    <a:cubicBezTo>
                      <a:pt x="1079602" y="304800"/>
                      <a:pt x="304800" y="1079602"/>
                      <a:pt x="304800" y="2032000"/>
                    </a:cubicBezTo>
                    <a:cubicBezTo>
                      <a:pt x="304800" y="2984399"/>
                      <a:pt x="1079602" y="3759200"/>
                      <a:pt x="2032000" y="3759200"/>
                    </a:cubicBezTo>
                    <a:cubicBezTo>
                      <a:pt x="2984399" y="3759200"/>
                      <a:pt x="3759200" y="2984399"/>
                      <a:pt x="3759200" y="2032000"/>
                    </a:cubicBezTo>
                    <a:cubicBezTo>
                      <a:pt x="3759200" y="1079602"/>
                      <a:pt x="2984399" y="304800"/>
                      <a:pt x="2032000" y="304800"/>
                    </a:cubicBezTo>
                    <a:close/>
                  </a:path>
                </a:pathLst>
              </a:custGeom>
              <a:solidFill>
                <a:srgbClr val="D175B0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2400"/>
              </a:p>
            </p:txBody>
          </p:sp>
          <p:sp>
            <p:nvSpPr>
              <p:cNvPr id="1076" name="Forme libre : forme 20">
                <a:extLst>
                  <a:ext uri="{FF2B5EF4-FFF2-40B4-BE49-F238E27FC236}">
                    <a16:creationId xmlns:a16="http://schemas.microsoft.com/office/drawing/2014/main" id="{10D5FEC9-BCED-49AF-FBAD-822C9AB7E1C0}"/>
                  </a:ext>
                </a:extLst>
              </p:cNvPr>
              <p:cNvSpPr/>
              <p:nvPr/>
            </p:nvSpPr>
            <p:spPr>
              <a:xfrm>
                <a:off x="12829073" y="2302365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2641600 h 2641600"/>
                  <a:gd name="connsiteX1" fmla="*/ 0 w 2641600"/>
                  <a:gd name="connsiteY1" fmla="*/ 1320800 h 2641600"/>
                  <a:gd name="connsiteX2" fmla="*/ 1320800 w 2641600"/>
                  <a:gd name="connsiteY2" fmla="*/ 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2641600 h 2641600"/>
                  <a:gd name="connsiteX5" fmla="*/ 1320800 w 2641600"/>
                  <a:gd name="connsiteY5" fmla="*/ 304800 h 2641600"/>
                  <a:gd name="connsiteX6" fmla="*/ 304800 w 2641600"/>
                  <a:gd name="connsiteY6" fmla="*/ 1320800 h 2641600"/>
                  <a:gd name="connsiteX7" fmla="*/ 1320800 w 2641600"/>
                  <a:gd name="connsiteY7" fmla="*/ 2336800 h 2641600"/>
                  <a:gd name="connsiteX8" fmla="*/ 2336800 w 2641600"/>
                  <a:gd name="connsiteY8" fmla="*/ 1320800 h 2641600"/>
                  <a:gd name="connsiteX9" fmla="*/ 1320800 w 2641600"/>
                  <a:gd name="connsiteY9" fmla="*/ 304800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41600" h="2641600">
                    <a:moveTo>
                      <a:pt x="1320800" y="2641600"/>
                    </a:moveTo>
                    <a:cubicBezTo>
                      <a:pt x="592531" y="2641600"/>
                      <a:pt x="0" y="2049069"/>
                      <a:pt x="0" y="1320800"/>
                    </a:cubicBezTo>
                    <a:cubicBezTo>
                      <a:pt x="0" y="592531"/>
                      <a:pt x="592531" y="0"/>
                      <a:pt x="1320800" y="0"/>
                    </a:cubicBezTo>
                    <a:cubicBezTo>
                      <a:pt x="2049069" y="0"/>
                      <a:pt x="2641600" y="592531"/>
                      <a:pt x="2641600" y="1320800"/>
                    </a:cubicBezTo>
                    <a:cubicBezTo>
                      <a:pt x="2641600" y="2049069"/>
                      <a:pt x="2049069" y="2641600"/>
                      <a:pt x="1320800" y="2641600"/>
                    </a:cubicBezTo>
                    <a:close/>
                    <a:moveTo>
                      <a:pt x="1320800" y="304800"/>
                    </a:moveTo>
                    <a:cubicBezTo>
                      <a:pt x="760578" y="304800"/>
                      <a:pt x="304800" y="760578"/>
                      <a:pt x="304800" y="1320800"/>
                    </a:cubicBezTo>
                    <a:cubicBezTo>
                      <a:pt x="304800" y="1881022"/>
                      <a:pt x="760578" y="2336800"/>
                      <a:pt x="1320800" y="2336800"/>
                    </a:cubicBezTo>
                    <a:cubicBezTo>
                      <a:pt x="1881022" y="2336800"/>
                      <a:pt x="2336800" y="1881022"/>
                      <a:pt x="2336800" y="1320800"/>
                    </a:cubicBezTo>
                    <a:cubicBezTo>
                      <a:pt x="2336800" y="760578"/>
                      <a:pt x="1881022" y="304800"/>
                      <a:pt x="1320800" y="304800"/>
                    </a:cubicBezTo>
                    <a:close/>
                  </a:path>
                </a:pathLst>
              </a:custGeom>
              <a:solidFill>
                <a:srgbClr val="D175B0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2400"/>
              </a:p>
            </p:txBody>
          </p:sp>
          <p:sp>
            <p:nvSpPr>
              <p:cNvPr id="1077" name="Forme libre : forme 21">
                <a:extLst>
                  <a:ext uri="{FF2B5EF4-FFF2-40B4-BE49-F238E27FC236}">
                    <a16:creationId xmlns:a16="http://schemas.microsoft.com/office/drawing/2014/main" id="{27D6A18D-6A49-6DD5-B68F-72C20BE91F69}"/>
                  </a:ext>
                </a:extLst>
              </p:cNvPr>
              <p:cNvSpPr/>
              <p:nvPr/>
            </p:nvSpPr>
            <p:spPr>
              <a:xfrm>
                <a:off x="13540273" y="3013565"/>
                <a:ext cx="1219200" cy="1219200"/>
              </a:xfrm>
              <a:custGeom>
                <a:avLst/>
                <a:gdLst>
                  <a:gd name="connsiteX0" fmla="*/ 609600 w 1219200"/>
                  <a:gd name="connsiteY0" fmla="*/ 1219200 h 1219200"/>
                  <a:gd name="connsiteX1" fmla="*/ 0 w 1219200"/>
                  <a:gd name="connsiteY1" fmla="*/ 609600 h 1219200"/>
                  <a:gd name="connsiteX2" fmla="*/ 609600 w 1219200"/>
                  <a:gd name="connsiteY2" fmla="*/ 0 h 1219200"/>
                  <a:gd name="connsiteX3" fmla="*/ 1219200 w 1219200"/>
                  <a:gd name="connsiteY3" fmla="*/ 609600 h 1219200"/>
                  <a:gd name="connsiteX4" fmla="*/ 609600 w 1219200"/>
                  <a:gd name="connsiteY4" fmla="*/ 1219200 h 1219200"/>
                  <a:gd name="connsiteX5" fmla="*/ 609600 w 1219200"/>
                  <a:gd name="connsiteY5" fmla="*/ 304800 h 1219200"/>
                  <a:gd name="connsiteX6" fmla="*/ 304800 w 1219200"/>
                  <a:gd name="connsiteY6" fmla="*/ 609600 h 1219200"/>
                  <a:gd name="connsiteX7" fmla="*/ 609600 w 1219200"/>
                  <a:gd name="connsiteY7" fmla="*/ 914400 h 1219200"/>
                  <a:gd name="connsiteX8" fmla="*/ 914400 w 1219200"/>
                  <a:gd name="connsiteY8" fmla="*/ 609600 h 1219200"/>
                  <a:gd name="connsiteX9" fmla="*/ 609600 w 1219200"/>
                  <a:gd name="connsiteY9" fmla="*/ 304800 h 121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9200" h="1219200">
                    <a:moveTo>
                      <a:pt x="609600" y="1219200"/>
                    </a:moveTo>
                    <a:cubicBezTo>
                      <a:pt x="273507" y="1219200"/>
                      <a:pt x="0" y="945693"/>
                      <a:pt x="0" y="609600"/>
                    </a:cubicBezTo>
                    <a:cubicBezTo>
                      <a:pt x="0" y="273507"/>
                      <a:pt x="273507" y="0"/>
                      <a:pt x="609600" y="0"/>
                    </a:cubicBezTo>
                    <a:cubicBezTo>
                      <a:pt x="945693" y="0"/>
                      <a:pt x="1219200" y="273507"/>
                      <a:pt x="1219200" y="609600"/>
                    </a:cubicBezTo>
                    <a:cubicBezTo>
                      <a:pt x="1219200" y="945693"/>
                      <a:pt x="945693" y="1219200"/>
                      <a:pt x="609600" y="1219200"/>
                    </a:cubicBezTo>
                    <a:close/>
                    <a:moveTo>
                      <a:pt x="609600" y="304800"/>
                    </a:moveTo>
                    <a:cubicBezTo>
                      <a:pt x="441554" y="304800"/>
                      <a:pt x="304800" y="441554"/>
                      <a:pt x="304800" y="609600"/>
                    </a:cubicBezTo>
                    <a:cubicBezTo>
                      <a:pt x="304800" y="777646"/>
                      <a:pt x="441554" y="914400"/>
                      <a:pt x="609600" y="914400"/>
                    </a:cubicBezTo>
                    <a:cubicBezTo>
                      <a:pt x="777646" y="914400"/>
                      <a:pt x="914400" y="777646"/>
                      <a:pt x="914400" y="609600"/>
                    </a:cubicBezTo>
                    <a:cubicBezTo>
                      <a:pt x="914400" y="441554"/>
                      <a:pt x="777646" y="304800"/>
                      <a:pt x="609600" y="304800"/>
                    </a:cubicBezTo>
                    <a:close/>
                  </a:path>
                </a:pathLst>
              </a:custGeom>
              <a:solidFill>
                <a:srgbClr val="D175B0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2400"/>
              </a:p>
            </p:txBody>
          </p:sp>
        </p:grpSp>
        <p:sp>
          <p:nvSpPr>
            <p:cNvPr id="1065" name="Forme libre : forme 9">
              <a:extLst>
                <a:ext uri="{FF2B5EF4-FFF2-40B4-BE49-F238E27FC236}">
                  <a16:creationId xmlns:a16="http://schemas.microsoft.com/office/drawing/2014/main" id="{C4C6EA8B-5B28-A9B7-0506-BDE4CA83318D}"/>
                </a:ext>
              </a:extLst>
            </p:cNvPr>
            <p:cNvSpPr/>
            <p:nvPr/>
          </p:nvSpPr>
          <p:spPr>
            <a:xfrm>
              <a:off x="12117873" y="1591165"/>
              <a:ext cx="2032000" cy="4064000"/>
            </a:xfrm>
            <a:custGeom>
              <a:avLst/>
              <a:gdLst>
                <a:gd name="connsiteX0" fmla="*/ 2032000 w 2032000"/>
                <a:gd name="connsiteY0" fmla="*/ 0 h 4064000"/>
                <a:gd name="connsiteX1" fmla="*/ 0 w 2032000"/>
                <a:gd name="connsiteY1" fmla="*/ 2032000 h 4064000"/>
                <a:gd name="connsiteX2" fmla="*/ 2032000 w 2032000"/>
                <a:gd name="connsiteY2" fmla="*/ 4064000 h 4064000"/>
                <a:gd name="connsiteX3" fmla="*/ 2032000 w 2032000"/>
                <a:gd name="connsiteY3" fmla="*/ 3759200 h 4064000"/>
                <a:gd name="connsiteX4" fmla="*/ 304800 w 2032000"/>
                <a:gd name="connsiteY4" fmla="*/ 2032000 h 4064000"/>
                <a:gd name="connsiteX5" fmla="*/ 2032000 w 2032000"/>
                <a:gd name="connsiteY5" fmla="*/ 304800 h 40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2000" h="4064000">
                  <a:moveTo>
                    <a:pt x="2032000" y="0"/>
                  </a:moveTo>
                  <a:cubicBezTo>
                    <a:pt x="911555" y="0"/>
                    <a:pt x="0" y="911555"/>
                    <a:pt x="0" y="2032000"/>
                  </a:cubicBezTo>
                  <a:cubicBezTo>
                    <a:pt x="0" y="3152445"/>
                    <a:pt x="911555" y="4064000"/>
                    <a:pt x="2032000" y="4064000"/>
                  </a:cubicBezTo>
                  <a:lnTo>
                    <a:pt x="2032000" y="3759200"/>
                  </a:lnTo>
                  <a:cubicBezTo>
                    <a:pt x="1079602" y="3759200"/>
                    <a:pt x="304800" y="2984399"/>
                    <a:pt x="304800" y="2032000"/>
                  </a:cubicBezTo>
                  <a:cubicBezTo>
                    <a:pt x="304800" y="1079602"/>
                    <a:pt x="1079602" y="304800"/>
                    <a:pt x="2032000" y="304800"/>
                  </a:cubicBezTo>
                  <a:close/>
                </a:path>
              </a:pathLst>
            </a:custGeom>
            <a:solidFill>
              <a:srgbClr val="D175B0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66" name="Forme libre : forme 10">
              <a:extLst>
                <a:ext uri="{FF2B5EF4-FFF2-40B4-BE49-F238E27FC236}">
                  <a16:creationId xmlns:a16="http://schemas.microsoft.com/office/drawing/2014/main" id="{C11B2D3E-77D5-CA06-BCF5-D31F0784016B}"/>
                </a:ext>
              </a:extLst>
            </p:cNvPr>
            <p:cNvSpPr/>
            <p:nvPr/>
          </p:nvSpPr>
          <p:spPr>
            <a:xfrm>
              <a:off x="12829073" y="2302365"/>
              <a:ext cx="1320800" cy="2641600"/>
            </a:xfrm>
            <a:custGeom>
              <a:avLst/>
              <a:gdLst>
                <a:gd name="connsiteX0" fmla="*/ 1320800 w 1320800"/>
                <a:gd name="connsiteY0" fmla="*/ 0 h 2641600"/>
                <a:gd name="connsiteX1" fmla="*/ 0 w 1320800"/>
                <a:gd name="connsiteY1" fmla="*/ 1320800 h 2641600"/>
                <a:gd name="connsiteX2" fmla="*/ 1320800 w 1320800"/>
                <a:gd name="connsiteY2" fmla="*/ 2641600 h 2641600"/>
                <a:gd name="connsiteX3" fmla="*/ 1320800 w 1320800"/>
                <a:gd name="connsiteY3" fmla="*/ 2336800 h 2641600"/>
                <a:gd name="connsiteX4" fmla="*/ 304800 w 1320800"/>
                <a:gd name="connsiteY4" fmla="*/ 1320800 h 2641600"/>
                <a:gd name="connsiteX5" fmla="*/ 1320800 w 1320800"/>
                <a:gd name="connsiteY5" fmla="*/ 304800 h 26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0800" h="2641600">
                  <a:moveTo>
                    <a:pt x="1320800" y="0"/>
                  </a:moveTo>
                  <a:cubicBezTo>
                    <a:pt x="592531" y="0"/>
                    <a:pt x="0" y="592531"/>
                    <a:pt x="0" y="1320800"/>
                  </a:cubicBezTo>
                  <a:cubicBezTo>
                    <a:pt x="0" y="2049069"/>
                    <a:pt x="592531" y="2641600"/>
                    <a:pt x="1320800" y="2641600"/>
                  </a:cubicBezTo>
                  <a:lnTo>
                    <a:pt x="1320800" y="2336800"/>
                  </a:lnTo>
                  <a:cubicBezTo>
                    <a:pt x="760578" y="2336800"/>
                    <a:pt x="304800" y="1881022"/>
                    <a:pt x="304800" y="1320800"/>
                  </a:cubicBezTo>
                  <a:cubicBezTo>
                    <a:pt x="304800" y="760578"/>
                    <a:pt x="760578" y="304800"/>
                    <a:pt x="1320800" y="304800"/>
                  </a:cubicBezTo>
                  <a:close/>
                </a:path>
              </a:pathLst>
            </a:custGeom>
            <a:solidFill>
              <a:srgbClr val="D175B0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67" name="Forme libre : forme 11">
              <a:extLst>
                <a:ext uri="{FF2B5EF4-FFF2-40B4-BE49-F238E27FC236}">
                  <a16:creationId xmlns:a16="http://schemas.microsoft.com/office/drawing/2014/main" id="{4B3D3DE2-A4F6-0BB1-2B38-68A6D4F02548}"/>
                </a:ext>
              </a:extLst>
            </p:cNvPr>
            <p:cNvSpPr/>
            <p:nvPr/>
          </p:nvSpPr>
          <p:spPr>
            <a:xfrm>
              <a:off x="13845073" y="3318365"/>
              <a:ext cx="304800" cy="609600"/>
            </a:xfrm>
            <a:custGeom>
              <a:avLst/>
              <a:gdLst>
                <a:gd name="connsiteX0" fmla="*/ 304800 w 304800"/>
                <a:gd name="connsiteY0" fmla="*/ 0 h 609600"/>
                <a:gd name="connsiteX1" fmla="*/ 0 w 304800"/>
                <a:gd name="connsiteY1" fmla="*/ 304800 h 609600"/>
                <a:gd name="connsiteX2" fmla="*/ 304800 w 304800"/>
                <a:gd name="connsiteY2" fmla="*/ 60960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800" h="609600">
                  <a:moveTo>
                    <a:pt x="304800" y="0"/>
                  </a:moveTo>
                  <a:cubicBezTo>
                    <a:pt x="136754" y="0"/>
                    <a:pt x="0" y="136754"/>
                    <a:pt x="0" y="304800"/>
                  </a:cubicBezTo>
                  <a:cubicBezTo>
                    <a:pt x="0" y="472846"/>
                    <a:pt x="136754" y="609600"/>
                    <a:pt x="304800" y="609600"/>
                  </a:cubicBezTo>
                  <a:close/>
                </a:path>
              </a:pathLst>
            </a:custGeom>
            <a:solidFill>
              <a:srgbClr val="DADADA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68" name="Forme libre : forme 12">
              <a:extLst>
                <a:ext uri="{FF2B5EF4-FFF2-40B4-BE49-F238E27FC236}">
                  <a16:creationId xmlns:a16="http://schemas.microsoft.com/office/drawing/2014/main" id="{20A663A0-9E0A-D723-F12D-301784D440D7}"/>
                </a:ext>
              </a:extLst>
            </p:cNvPr>
            <p:cNvSpPr/>
            <p:nvPr/>
          </p:nvSpPr>
          <p:spPr>
            <a:xfrm>
              <a:off x="13540273" y="3013565"/>
              <a:ext cx="609600" cy="1219200"/>
            </a:xfrm>
            <a:custGeom>
              <a:avLst/>
              <a:gdLst>
                <a:gd name="connsiteX0" fmla="*/ 609600 w 609600"/>
                <a:gd name="connsiteY0" fmla="*/ 0 h 1219200"/>
                <a:gd name="connsiteX1" fmla="*/ 0 w 609600"/>
                <a:gd name="connsiteY1" fmla="*/ 609600 h 1219200"/>
                <a:gd name="connsiteX2" fmla="*/ 609600 w 609600"/>
                <a:gd name="connsiteY2" fmla="*/ 1219200 h 1219200"/>
                <a:gd name="connsiteX3" fmla="*/ 609600 w 609600"/>
                <a:gd name="connsiteY3" fmla="*/ 914400 h 1219200"/>
                <a:gd name="connsiteX4" fmla="*/ 304800 w 609600"/>
                <a:gd name="connsiteY4" fmla="*/ 609600 h 1219200"/>
                <a:gd name="connsiteX5" fmla="*/ 609600 w 609600"/>
                <a:gd name="connsiteY5" fmla="*/ 304800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9600" h="1219200">
                  <a:moveTo>
                    <a:pt x="609600" y="0"/>
                  </a:moveTo>
                  <a:cubicBezTo>
                    <a:pt x="273507" y="0"/>
                    <a:pt x="0" y="273507"/>
                    <a:pt x="0" y="609600"/>
                  </a:cubicBezTo>
                  <a:cubicBezTo>
                    <a:pt x="0" y="945693"/>
                    <a:pt x="273507" y="1219200"/>
                    <a:pt x="609600" y="1219200"/>
                  </a:cubicBezTo>
                  <a:lnTo>
                    <a:pt x="609600" y="914400"/>
                  </a:lnTo>
                  <a:cubicBezTo>
                    <a:pt x="441554" y="914400"/>
                    <a:pt x="304800" y="777646"/>
                    <a:pt x="304800" y="609600"/>
                  </a:cubicBezTo>
                  <a:cubicBezTo>
                    <a:pt x="304800" y="441554"/>
                    <a:pt x="441554" y="304800"/>
                    <a:pt x="609600" y="304800"/>
                  </a:cubicBezTo>
                  <a:close/>
                </a:path>
              </a:pathLst>
            </a:custGeom>
            <a:solidFill>
              <a:srgbClr val="D175B0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69" name="Forme libre : forme 13">
              <a:extLst>
                <a:ext uri="{FF2B5EF4-FFF2-40B4-BE49-F238E27FC236}">
                  <a16:creationId xmlns:a16="http://schemas.microsoft.com/office/drawing/2014/main" id="{9DECCA33-1E48-FDE1-72E2-1036D4B3E7C4}"/>
                </a:ext>
              </a:extLst>
            </p:cNvPr>
            <p:cNvSpPr/>
            <p:nvPr/>
          </p:nvSpPr>
          <p:spPr>
            <a:xfrm>
              <a:off x="13133873" y="2607165"/>
              <a:ext cx="1016000" cy="2032000"/>
            </a:xfrm>
            <a:custGeom>
              <a:avLst/>
              <a:gdLst>
                <a:gd name="connsiteX0" fmla="*/ 1016000 w 1016000"/>
                <a:gd name="connsiteY0" fmla="*/ 0 h 2032000"/>
                <a:gd name="connsiteX1" fmla="*/ 0 w 1016000"/>
                <a:gd name="connsiteY1" fmla="*/ 1016000 h 2032000"/>
                <a:gd name="connsiteX2" fmla="*/ 1016000 w 1016000"/>
                <a:gd name="connsiteY2" fmla="*/ 2032000 h 2032000"/>
                <a:gd name="connsiteX3" fmla="*/ 1016000 w 1016000"/>
                <a:gd name="connsiteY3" fmla="*/ 1625600 h 2032000"/>
                <a:gd name="connsiteX4" fmla="*/ 406400 w 1016000"/>
                <a:gd name="connsiteY4" fmla="*/ 1016000 h 2032000"/>
                <a:gd name="connsiteX5" fmla="*/ 1016000 w 1016000"/>
                <a:gd name="connsiteY5" fmla="*/ 406400 h 20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6000" h="2032000">
                  <a:moveTo>
                    <a:pt x="1016000" y="0"/>
                  </a:moveTo>
                  <a:cubicBezTo>
                    <a:pt x="455778" y="0"/>
                    <a:pt x="0" y="455778"/>
                    <a:pt x="0" y="1016000"/>
                  </a:cubicBezTo>
                  <a:cubicBezTo>
                    <a:pt x="0" y="1576222"/>
                    <a:pt x="455778" y="2032000"/>
                    <a:pt x="1016000" y="2032000"/>
                  </a:cubicBezTo>
                  <a:lnTo>
                    <a:pt x="1016000" y="1625600"/>
                  </a:lnTo>
                  <a:cubicBezTo>
                    <a:pt x="679907" y="1625600"/>
                    <a:pt x="406400" y="1352093"/>
                    <a:pt x="406400" y="1016000"/>
                  </a:cubicBezTo>
                  <a:cubicBezTo>
                    <a:pt x="406400" y="679907"/>
                    <a:pt x="679907" y="406400"/>
                    <a:pt x="1016000" y="40640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70" name="Forme libre : forme 14">
              <a:extLst>
                <a:ext uri="{FF2B5EF4-FFF2-40B4-BE49-F238E27FC236}">
                  <a16:creationId xmlns:a16="http://schemas.microsoft.com/office/drawing/2014/main" id="{D294FCF7-012C-5D39-7811-F83640768E4D}"/>
                </a:ext>
              </a:extLst>
            </p:cNvPr>
            <p:cNvSpPr/>
            <p:nvPr/>
          </p:nvSpPr>
          <p:spPr>
            <a:xfrm>
              <a:off x="12422673" y="1895965"/>
              <a:ext cx="1727200" cy="3454400"/>
            </a:xfrm>
            <a:custGeom>
              <a:avLst/>
              <a:gdLst>
                <a:gd name="connsiteX0" fmla="*/ 1727200 w 1727200"/>
                <a:gd name="connsiteY0" fmla="*/ 0 h 3454400"/>
                <a:gd name="connsiteX1" fmla="*/ 0 w 1727200"/>
                <a:gd name="connsiteY1" fmla="*/ 1727200 h 3454400"/>
                <a:gd name="connsiteX2" fmla="*/ 1727200 w 1727200"/>
                <a:gd name="connsiteY2" fmla="*/ 3454400 h 3454400"/>
                <a:gd name="connsiteX3" fmla="*/ 1727200 w 1727200"/>
                <a:gd name="connsiteY3" fmla="*/ 3048000 h 3454400"/>
                <a:gd name="connsiteX4" fmla="*/ 406400 w 1727200"/>
                <a:gd name="connsiteY4" fmla="*/ 1727200 h 3454400"/>
                <a:gd name="connsiteX5" fmla="*/ 1727200 w 1727200"/>
                <a:gd name="connsiteY5" fmla="*/ 406400 h 345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7200" h="3454400">
                  <a:moveTo>
                    <a:pt x="1727200" y="0"/>
                  </a:moveTo>
                  <a:cubicBezTo>
                    <a:pt x="774802" y="0"/>
                    <a:pt x="0" y="774802"/>
                    <a:pt x="0" y="1727200"/>
                  </a:cubicBezTo>
                  <a:cubicBezTo>
                    <a:pt x="0" y="2679599"/>
                    <a:pt x="774802" y="3454400"/>
                    <a:pt x="1727200" y="3454400"/>
                  </a:cubicBezTo>
                  <a:lnTo>
                    <a:pt x="1727200" y="3048000"/>
                  </a:lnTo>
                  <a:cubicBezTo>
                    <a:pt x="998931" y="3048000"/>
                    <a:pt x="406400" y="2455469"/>
                    <a:pt x="406400" y="1727200"/>
                  </a:cubicBezTo>
                  <a:cubicBezTo>
                    <a:pt x="406400" y="998931"/>
                    <a:pt x="998931" y="406400"/>
                    <a:pt x="1727200" y="40640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71" name="Forme libre : forme 15">
              <a:extLst>
                <a:ext uri="{FF2B5EF4-FFF2-40B4-BE49-F238E27FC236}">
                  <a16:creationId xmlns:a16="http://schemas.microsoft.com/office/drawing/2014/main" id="{55209A69-B04E-0A3A-3E5D-8AB11644FA20}"/>
                </a:ext>
              </a:extLst>
            </p:cNvPr>
            <p:cNvSpPr/>
            <p:nvPr/>
          </p:nvSpPr>
          <p:spPr>
            <a:xfrm>
              <a:off x="13997523" y="1946612"/>
              <a:ext cx="1828901" cy="1828952"/>
            </a:xfrm>
            <a:custGeom>
              <a:avLst/>
              <a:gdLst>
                <a:gd name="connsiteX0" fmla="*/ 152349 w 1828901"/>
                <a:gd name="connsiteY0" fmla="*/ 1828952 h 1828952"/>
                <a:gd name="connsiteX1" fmla="*/ 44653 w 1828901"/>
                <a:gd name="connsiteY1" fmla="*/ 1784248 h 1828952"/>
                <a:gd name="connsiteX2" fmla="*/ 44653 w 1828901"/>
                <a:gd name="connsiteY2" fmla="*/ 1568653 h 1828952"/>
                <a:gd name="connsiteX3" fmla="*/ 1568653 w 1828901"/>
                <a:gd name="connsiteY3" fmla="*/ 44653 h 1828952"/>
                <a:gd name="connsiteX4" fmla="*/ 1784248 w 1828901"/>
                <a:gd name="connsiteY4" fmla="*/ 44653 h 1828952"/>
                <a:gd name="connsiteX5" fmla="*/ 1784248 w 1828901"/>
                <a:gd name="connsiteY5" fmla="*/ 260248 h 1828952"/>
                <a:gd name="connsiteX6" fmla="*/ 260248 w 1828901"/>
                <a:gd name="connsiteY6" fmla="*/ 1784248 h 1828952"/>
                <a:gd name="connsiteX7" fmla="*/ 152349 w 1828901"/>
                <a:gd name="connsiteY7" fmla="*/ 1828952 h 182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901" h="1828952">
                  <a:moveTo>
                    <a:pt x="152349" y="1828952"/>
                  </a:moveTo>
                  <a:cubicBezTo>
                    <a:pt x="113335" y="1828952"/>
                    <a:pt x="74320" y="1814119"/>
                    <a:pt x="44653" y="1784248"/>
                  </a:cubicBezTo>
                  <a:cubicBezTo>
                    <a:pt x="-14884" y="1724711"/>
                    <a:pt x="-14884" y="1628191"/>
                    <a:pt x="44653" y="1568653"/>
                  </a:cubicBezTo>
                  <a:lnTo>
                    <a:pt x="1568653" y="44653"/>
                  </a:lnTo>
                  <a:cubicBezTo>
                    <a:pt x="1628191" y="-14884"/>
                    <a:pt x="1724711" y="-14884"/>
                    <a:pt x="1784248" y="44653"/>
                  </a:cubicBezTo>
                  <a:cubicBezTo>
                    <a:pt x="1843786" y="104191"/>
                    <a:pt x="1843786" y="200711"/>
                    <a:pt x="1784248" y="260248"/>
                  </a:cubicBezTo>
                  <a:lnTo>
                    <a:pt x="260248" y="1784248"/>
                  </a:lnTo>
                  <a:cubicBezTo>
                    <a:pt x="230378" y="1814119"/>
                    <a:pt x="191364" y="1828952"/>
                    <a:pt x="152349" y="1828952"/>
                  </a:cubicBezTo>
                  <a:close/>
                </a:path>
              </a:pathLst>
            </a:custGeom>
            <a:solidFill>
              <a:srgbClr val="682179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72" name="Forme libre : forme 16">
              <a:extLst>
                <a:ext uri="{FF2B5EF4-FFF2-40B4-BE49-F238E27FC236}">
                  <a16:creationId xmlns:a16="http://schemas.microsoft.com/office/drawing/2014/main" id="{D0E9B9BD-0206-4539-43BC-F41700B197EA}"/>
                </a:ext>
              </a:extLst>
            </p:cNvPr>
            <p:cNvSpPr/>
            <p:nvPr/>
          </p:nvSpPr>
          <p:spPr>
            <a:xfrm>
              <a:off x="15572273" y="778439"/>
              <a:ext cx="1422415" cy="1422325"/>
            </a:xfrm>
            <a:custGeom>
              <a:avLst/>
              <a:gdLst>
                <a:gd name="connsiteX0" fmla="*/ 660400 w 1422415"/>
                <a:gd name="connsiteY0" fmla="*/ 1422325 h 1422325"/>
                <a:gd name="connsiteX1" fmla="*/ 152400 w 1422415"/>
                <a:gd name="connsiteY1" fmla="*/ 1422325 h 1422325"/>
                <a:gd name="connsiteX2" fmla="*/ 0 w 1422415"/>
                <a:gd name="connsiteY2" fmla="*/ 1269925 h 1422325"/>
                <a:gd name="connsiteX3" fmla="*/ 0 w 1422415"/>
                <a:gd name="connsiteY3" fmla="*/ 761925 h 1422325"/>
                <a:gd name="connsiteX4" fmla="*/ 44704 w 1422415"/>
                <a:gd name="connsiteY4" fmla="*/ 654229 h 1422325"/>
                <a:gd name="connsiteX5" fmla="*/ 654304 w 1422415"/>
                <a:gd name="connsiteY5" fmla="*/ 44629 h 1422325"/>
                <a:gd name="connsiteX6" fmla="*/ 820319 w 1422415"/>
                <a:gd name="connsiteY6" fmla="*/ 11508 h 1422325"/>
                <a:gd name="connsiteX7" fmla="*/ 914400 w 1422415"/>
                <a:gd name="connsiteY7" fmla="*/ 152325 h 1422325"/>
                <a:gd name="connsiteX8" fmla="*/ 914400 w 1422415"/>
                <a:gd name="connsiteY8" fmla="*/ 507925 h 1422325"/>
                <a:gd name="connsiteX9" fmla="*/ 1270000 w 1422415"/>
                <a:gd name="connsiteY9" fmla="*/ 507925 h 1422325"/>
                <a:gd name="connsiteX10" fmla="*/ 1410818 w 1422415"/>
                <a:gd name="connsiteY10" fmla="*/ 602007 h 1422325"/>
                <a:gd name="connsiteX11" fmla="*/ 1377696 w 1422415"/>
                <a:gd name="connsiteY11" fmla="*/ 768021 h 1422325"/>
                <a:gd name="connsiteX12" fmla="*/ 768096 w 1422415"/>
                <a:gd name="connsiteY12" fmla="*/ 1377621 h 1422325"/>
                <a:gd name="connsiteX13" fmla="*/ 660400 w 1422415"/>
                <a:gd name="connsiteY13" fmla="*/ 1422325 h 142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2415" h="1422325">
                  <a:moveTo>
                    <a:pt x="660400" y="1422325"/>
                  </a:moveTo>
                  <a:lnTo>
                    <a:pt x="152400" y="1422325"/>
                  </a:lnTo>
                  <a:cubicBezTo>
                    <a:pt x="68275" y="1422325"/>
                    <a:pt x="0" y="1354050"/>
                    <a:pt x="0" y="1269925"/>
                  </a:cubicBezTo>
                  <a:lnTo>
                    <a:pt x="0" y="761925"/>
                  </a:lnTo>
                  <a:cubicBezTo>
                    <a:pt x="0" y="721489"/>
                    <a:pt x="16053" y="682677"/>
                    <a:pt x="44704" y="654229"/>
                  </a:cubicBezTo>
                  <a:lnTo>
                    <a:pt x="654304" y="44629"/>
                  </a:lnTo>
                  <a:cubicBezTo>
                    <a:pt x="697992" y="941"/>
                    <a:pt x="763626" y="-11860"/>
                    <a:pt x="820319" y="11508"/>
                  </a:cubicBezTo>
                  <a:cubicBezTo>
                    <a:pt x="877214" y="35079"/>
                    <a:pt x="914400" y="90756"/>
                    <a:pt x="914400" y="152325"/>
                  </a:cubicBezTo>
                  <a:lnTo>
                    <a:pt x="914400" y="507925"/>
                  </a:lnTo>
                  <a:lnTo>
                    <a:pt x="1270000" y="507925"/>
                  </a:lnTo>
                  <a:cubicBezTo>
                    <a:pt x="1331570" y="507925"/>
                    <a:pt x="1387246" y="545111"/>
                    <a:pt x="1410818" y="602007"/>
                  </a:cubicBezTo>
                  <a:cubicBezTo>
                    <a:pt x="1434389" y="658903"/>
                    <a:pt x="1421384" y="724537"/>
                    <a:pt x="1377696" y="768021"/>
                  </a:cubicBezTo>
                  <a:lnTo>
                    <a:pt x="768096" y="1377621"/>
                  </a:lnTo>
                  <a:cubicBezTo>
                    <a:pt x="739648" y="1406273"/>
                    <a:pt x="700837" y="1422325"/>
                    <a:pt x="660400" y="1422325"/>
                  </a:cubicBezTo>
                  <a:close/>
                </a:path>
              </a:pathLst>
            </a:custGeom>
            <a:solidFill>
              <a:srgbClr val="008273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73" name="Forme libre : forme 17">
              <a:extLst>
                <a:ext uri="{FF2B5EF4-FFF2-40B4-BE49-F238E27FC236}">
                  <a16:creationId xmlns:a16="http://schemas.microsoft.com/office/drawing/2014/main" id="{1B131730-97A1-A204-20B3-6A86C9264449}"/>
                </a:ext>
              </a:extLst>
            </p:cNvPr>
            <p:cNvSpPr/>
            <p:nvPr/>
          </p:nvSpPr>
          <p:spPr>
            <a:xfrm>
              <a:off x="13997523" y="1985576"/>
              <a:ext cx="1619453" cy="1745488"/>
            </a:xfrm>
            <a:custGeom>
              <a:avLst/>
              <a:gdLst>
                <a:gd name="connsiteX0" fmla="*/ 1574749 w 1619453"/>
                <a:gd name="connsiteY0" fmla="*/ 0 h 1745488"/>
                <a:gd name="connsiteX1" fmla="*/ 1568653 w 1619453"/>
                <a:gd name="connsiteY1" fmla="*/ 5893 h 1745488"/>
                <a:gd name="connsiteX2" fmla="*/ 44653 w 1619453"/>
                <a:gd name="connsiteY2" fmla="*/ 1529893 h 1745488"/>
                <a:gd name="connsiteX3" fmla="*/ 44653 w 1619453"/>
                <a:gd name="connsiteY3" fmla="*/ 1745488 h 1745488"/>
                <a:gd name="connsiteX4" fmla="*/ 1619453 w 1619453"/>
                <a:gd name="connsiteY4" fmla="*/ 170688 h 1745488"/>
                <a:gd name="connsiteX5" fmla="*/ 1574749 w 1619453"/>
                <a:gd name="connsiteY5" fmla="*/ 62789 h 174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9453" h="1745488">
                  <a:moveTo>
                    <a:pt x="1574749" y="0"/>
                  </a:moveTo>
                  <a:cubicBezTo>
                    <a:pt x="1572717" y="1829"/>
                    <a:pt x="1570685" y="3861"/>
                    <a:pt x="1568653" y="5893"/>
                  </a:cubicBezTo>
                  <a:lnTo>
                    <a:pt x="44653" y="1529893"/>
                  </a:lnTo>
                  <a:cubicBezTo>
                    <a:pt x="-14884" y="1589430"/>
                    <a:pt x="-14884" y="1685950"/>
                    <a:pt x="44653" y="1745488"/>
                  </a:cubicBezTo>
                  <a:lnTo>
                    <a:pt x="1619453" y="170688"/>
                  </a:lnTo>
                  <a:cubicBezTo>
                    <a:pt x="1591818" y="143053"/>
                    <a:pt x="1574749" y="104851"/>
                    <a:pt x="1574749" y="62789"/>
                  </a:cubicBezTo>
                  <a:close/>
                </a:path>
              </a:pathLst>
            </a:custGeom>
            <a:solidFill>
              <a:srgbClr val="582974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  <p:sp>
          <p:nvSpPr>
            <p:cNvPr id="1074" name="Forme libre : forme 18">
              <a:extLst>
                <a:ext uri="{FF2B5EF4-FFF2-40B4-BE49-F238E27FC236}">
                  <a16:creationId xmlns:a16="http://schemas.microsoft.com/office/drawing/2014/main" id="{6A34A0E7-A231-4D8B-8F74-BBEBE41497DF}"/>
                </a:ext>
              </a:extLst>
            </p:cNvPr>
            <p:cNvSpPr/>
            <p:nvPr/>
          </p:nvSpPr>
          <p:spPr>
            <a:xfrm>
              <a:off x="15572273" y="778365"/>
              <a:ext cx="914400" cy="1377696"/>
            </a:xfrm>
            <a:custGeom>
              <a:avLst/>
              <a:gdLst>
                <a:gd name="connsiteX0" fmla="*/ 762000 w 914400"/>
                <a:gd name="connsiteY0" fmla="*/ 0 h 1377696"/>
                <a:gd name="connsiteX1" fmla="*/ 654101 w 914400"/>
                <a:gd name="connsiteY1" fmla="*/ 44704 h 1377696"/>
                <a:gd name="connsiteX2" fmla="*/ 44501 w 914400"/>
                <a:gd name="connsiteY2" fmla="*/ 654304 h 1377696"/>
                <a:gd name="connsiteX3" fmla="*/ 0 w 914400"/>
                <a:gd name="connsiteY3" fmla="*/ 762000 h 1377696"/>
                <a:gd name="connsiteX4" fmla="*/ 0 w 914400"/>
                <a:gd name="connsiteY4" fmla="*/ 1207211 h 1377696"/>
                <a:gd name="connsiteX5" fmla="*/ 0 w 914400"/>
                <a:gd name="connsiteY5" fmla="*/ 1270000 h 1377696"/>
                <a:gd name="connsiteX6" fmla="*/ 44704 w 914400"/>
                <a:gd name="connsiteY6" fmla="*/ 1377696 h 1377696"/>
                <a:gd name="connsiteX7" fmla="*/ 914400 w 914400"/>
                <a:gd name="connsiteY7" fmla="*/ 508000 h 1377696"/>
                <a:gd name="connsiteX8" fmla="*/ 914400 w 914400"/>
                <a:gd name="connsiteY8" fmla="*/ 152400 h 1377696"/>
                <a:gd name="connsiteX9" fmla="*/ 820319 w 914400"/>
                <a:gd name="connsiteY9" fmla="*/ 11582 h 1377696"/>
                <a:gd name="connsiteX10" fmla="*/ 762000 w 914400"/>
                <a:gd name="connsiteY10" fmla="*/ 0 h 1377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" h="1377696">
                  <a:moveTo>
                    <a:pt x="762000" y="0"/>
                  </a:moveTo>
                  <a:cubicBezTo>
                    <a:pt x="722376" y="0"/>
                    <a:pt x="683362" y="15443"/>
                    <a:pt x="654101" y="44704"/>
                  </a:cubicBezTo>
                  <a:lnTo>
                    <a:pt x="44501" y="654304"/>
                  </a:lnTo>
                  <a:cubicBezTo>
                    <a:pt x="16053" y="682752"/>
                    <a:pt x="0" y="721563"/>
                    <a:pt x="0" y="762000"/>
                  </a:cubicBezTo>
                  <a:lnTo>
                    <a:pt x="0" y="1207211"/>
                  </a:lnTo>
                  <a:lnTo>
                    <a:pt x="0" y="1270000"/>
                  </a:lnTo>
                  <a:cubicBezTo>
                    <a:pt x="0" y="1312062"/>
                    <a:pt x="17069" y="1350264"/>
                    <a:pt x="44704" y="1377696"/>
                  </a:cubicBezTo>
                  <a:lnTo>
                    <a:pt x="914400" y="508000"/>
                  </a:lnTo>
                  <a:lnTo>
                    <a:pt x="914400" y="152400"/>
                  </a:lnTo>
                  <a:cubicBezTo>
                    <a:pt x="914400" y="90830"/>
                    <a:pt x="877214" y="35154"/>
                    <a:pt x="820319" y="11582"/>
                  </a:cubicBezTo>
                  <a:cubicBezTo>
                    <a:pt x="801421" y="3861"/>
                    <a:pt x="781710" y="0"/>
                    <a:pt x="762000" y="0"/>
                  </a:cubicBezTo>
                  <a:close/>
                </a:path>
              </a:pathLst>
            </a:custGeom>
            <a:solidFill>
              <a:srgbClr val="00AC98"/>
            </a:solidFill>
            <a:ln w="203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2400"/>
            </a:p>
          </p:txBody>
        </p:sp>
      </p:grpSp>
      <p:grpSp>
        <p:nvGrpSpPr>
          <p:cNvPr id="1078" name="Graphique 139">
            <a:extLst>
              <a:ext uri="{FF2B5EF4-FFF2-40B4-BE49-F238E27FC236}">
                <a16:creationId xmlns:a16="http://schemas.microsoft.com/office/drawing/2014/main" id="{B3A2565B-A298-04DC-3270-EC7FE76F368A}"/>
              </a:ext>
            </a:extLst>
          </p:cNvPr>
          <p:cNvGrpSpPr/>
          <p:nvPr/>
        </p:nvGrpSpPr>
        <p:grpSpPr>
          <a:xfrm>
            <a:off x="1728760" y="3905215"/>
            <a:ext cx="285970" cy="330298"/>
            <a:chOff x="8170738" y="2492774"/>
            <a:chExt cx="1292229" cy="1410198"/>
          </a:xfrm>
        </p:grpSpPr>
        <p:sp>
          <p:nvSpPr>
            <p:cNvPr id="1079" name="Forme libre : forme 164">
              <a:extLst>
                <a:ext uri="{FF2B5EF4-FFF2-40B4-BE49-F238E27FC236}">
                  <a16:creationId xmlns:a16="http://schemas.microsoft.com/office/drawing/2014/main" id="{312C0E5B-A5E7-6F0D-5632-00F1F0AF9045}"/>
                </a:ext>
              </a:extLst>
            </p:cNvPr>
            <p:cNvSpPr/>
            <p:nvPr/>
          </p:nvSpPr>
          <p:spPr>
            <a:xfrm>
              <a:off x="8816854" y="2559926"/>
              <a:ext cx="321956" cy="179073"/>
            </a:xfrm>
            <a:custGeom>
              <a:avLst/>
              <a:gdLst>
                <a:gd name="connsiteX0" fmla="*/ 299543 w 321956"/>
                <a:gd name="connsiteY0" fmla="*/ 0 h 179073"/>
                <a:gd name="connsiteX1" fmla="*/ 0 w 321956"/>
                <a:gd name="connsiteY1" fmla="*/ 0 h 179073"/>
                <a:gd name="connsiteX2" fmla="*/ 0 w 321956"/>
                <a:gd name="connsiteY2" fmla="*/ 179073 h 179073"/>
                <a:gd name="connsiteX3" fmla="*/ 299543 w 321956"/>
                <a:gd name="connsiteY3" fmla="*/ 179073 h 179073"/>
                <a:gd name="connsiteX4" fmla="*/ 319564 w 321956"/>
                <a:gd name="connsiteY4" fmla="*/ 146680 h 179073"/>
                <a:gd name="connsiteX5" fmla="*/ 290994 w 321956"/>
                <a:gd name="connsiteY5" fmla="*/ 89539 h 179073"/>
                <a:gd name="connsiteX6" fmla="*/ 319564 w 321956"/>
                <a:gd name="connsiteY6" fmla="*/ 32399 h 179073"/>
                <a:gd name="connsiteX7" fmla="*/ 299543 w 321956"/>
                <a:gd name="connsiteY7" fmla="*/ 0 h 179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956" h="179073">
                  <a:moveTo>
                    <a:pt x="299543" y="0"/>
                  </a:moveTo>
                  <a:lnTo>
                    <a:pt x="0" y="0"/>
                  </a:lnTo>
                  <a:lnTo>
                    <a:pt x="0" y="179073"/>
                  </a:lnTo>
                  <a:lnTo>
                    <a:pt x="299543" y="179073"/>
                  </a:lnTo>
                  <a:cubicBezTo>
                    <a:pt x="316182" y="179073"/>
                    <a:pt x="327006" y="161561"/>
                    <a:pt x="319564" y="146680"/>
                  </a:cubicBezTo>
                  <a:lnTo>
                    <a:pt x="290994" y="89539"/>
                  </a:lnTo>
                  <a:lnTo>
                    <a:pt x="319564" y="32399"/>
                  </a:lnTo>
                  <a:cubicBezTo>
                    <a:pt x="327006" y="17512"/>
                    <a:pt x="316185" y="0"/>
                    <a:pt x="299543" y="0"/>
                  </a:cubicBezTo>
                  <a:close/>
                </a:path>
              </a:pathLst>
            </a:custGeom>
            <a:solidFill>
              <a:srgbClr val="00AE9B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0" name="Forme libre : forme 165">
              <a:extLst>
                <a:ext uri="{FF2B5EF4-FFF2-40B4-BE49-F238E27FC236}">
                  <a16:creationId xmlns:a16="http://schemas.microsoft.com/office/drawing/2014/main" id="{34C42D23-935A-DED9-F862-FBA08438CEC2}"/>
                </a:ext>
              </a:extLst>
            </p:cNvPr>
            <p:cNvSpPr/>
            <p:nvPr/>
          </p:nvSpPr>
          <p:spPr>
            <a:xfrm>
              <a:off x="8816854" y="2559926"/>
              <a:ext cx="67152" cy="179084"/>
            </a:xfrm>
            <a:custGeom>
              <a:avLst/>
              <a:gdLst>
                <a:gd name="connsiteX0" fmla="*/ 0 w 67152"/>
                <a:gd name="connsiteY0" fmla="*/ 0 h 179084"/>
                <a:gd name="connsiteX1" fmla="*/ 67153 w 67152"/>
                <a:gd name="connsiteY1" fmla="*/ 0 h 179084"/>
                <a:gd name="connsiteX2" fmla="*/ 67153 w 67152"/>
                <a:gd name="connsiteY2" fmla="*/ 179084 h 179084"/>
                <a:gd name="connsiteX3" fmla="*/ 0 w 67152"/>
                <a:gd name="connsiteY3" fmla="*/ 179084 h 17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52" h="179084">
                  <a:moveTo>
                    <a:pt x="0" y="0"/>
                  </a:moveTo>
                  <a:lnTo>
                    <a:pt x="67153" y="0"/>
                  </a:lnTo>
                  <a:lnTo>
                    <a:pt x="67153" y="179084"/>
                  </a:lnTo>
                  <a:lnTo>
                    <a:pt x="0" y="179084"/>
                  </a:lnTo>
                  <a:close/>
                </a:path>
              </a:pathLst>
            </a:custGeom>
            <a:solidFill>
              <a:srgbClr val="008273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1" name="Forme libre : forme 166">
              <a:extLst>
                <a:ext uri="{FF2B5EF4-FFF2-40B4-BE49-F238E27FC236}">
                  <a16:creationId xmlns:a16="http://schemas.microsoft.com/office/drawing/2014/main" id="{32C2CDB6-5009-CDEC-96AF-A7AE5D8FC173}"/>
                </a:ext>
              </a:extLst>
            </p:cNvPr>
            <p:cNvSpPr/>
            <p:nvPr/>
          </p:nvSpPr>
          <p:spPr>
            <a:xfrm>
              <a:off x="8794470" y="2492774"/>
              <a:ext cx="44768" cy="1007284"/>
            </a:xfrm>
            <a:custGeom>
              <a:avLst/>
              <a:gdLst>
                <a:gd name="connsiteX0" fmla="*/ 22384 w 44768"/>
                <a:gd name="connsiteY0" fmla="*/ 1007284 h 1007284"/>
                <a:gd name="connsiteX1" fmla="*/ 0 w 44768"/>
                <a:gd name="connsiteY1" fmla="*/ 984900 h 1007284"/>
                <a:gd name="connsiteX2" fmla="*/ 0 w 44768"/>
                <a:gd name="connsiteY2" fmla="*/ 22384 h 1007284"/>
                <a:gd name="connsiteX3" fmla="*/ 22384 w 44768"/>
                <a:gd name="connsiteY3" fmla="*/ 0 h 1007284"/>
                <a:gd name="connsiteX4" fmla="*/ 44768 w 44768"/>
                <a:gd name="connsiteY4" fmla="*/ 22384 h 1007284"/>
                <a:gd name="connsiteX5" fmla="*/ 44768 w 44768"/>
                <a:gd name="connsiteY5" fmla="*/ 984900 h 1007284"/>
                <a:gd name="connsiteX6" fmla="*/ 22384 w 44768"/>
                <a:gd name="connsiteY6" fmla="*/ 1007284 h 1007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68" h="1007284">
                  <a:moveTo>
                    <a:pt x="22384" y="1007284"/>
                  </a:moveTo>
                  <a:cubicBezTo>
                    <a:pt x="10012" y="1007284"/>
                    <a:pt x="0" y="997272"/>
                    <a:pt x="0" y="984900"/>
                  </a:cubicBezTo>
                  <a:lnTo>
                    <a:pt x="0" y="22384"/>
                  </a:lnTo>
                  <a:cubicBezTo>
                    <a:pt x="0" y="10012"/>
                    <a:pt x="10012" y="0"/>
                    <a:pt x="22384" y="0"/>
                  </a:cubicBezTo>
                  <a:cubicBezTo>
                    <a:pt x="34756" y="0"/>
                    <a:pt x="44768" y="10012"/>
                    <a:pt x="44768" y="22384"/>
                  </a:cubicBezTo>
                  <a:lnTo>
                    <a:pt x="44768" y="984900"/>
                  </a:lnTo>
                  <a:cubicBezTo>
                    <a:pt x="44768" y="997272"/>
                    <a:pt x="34756" y="1007284"/>
                    <a:pt x="22384" y="1007284"/>
                  </a:cubicBezTo>
                  <a:close/>
                </a:path>
              </a:pathLst>
            </a:custGeom>
            <a:solidFill>
              <a:srgbClr val="707487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2" name="Forme libre : forme 167">
              <a:extLst>
                <a:ext uri="{FF2B5EF4-FFF2-40B4-BE49-F238E27FC236}">
                  <a16:creationId xmlns:a16="http://schemas.microsoft.com/office/drawing/2014/main" id="{153D4F88-C7AA-E7BA-1A90-B07865C79DC8}"/>
                </a:ext>
              </a:extLst>
            </p:cNvPr>
            <p:cNvSpPr/>
            <p:nvPr/>
          </p:nvSpPr>
          <p:spPr>
            <a:xfrm>
              <a:off x="8436321" y="3298598"/>
              <a:ext cx="179084" cy="402925"/>
            </a:xfrm>
            <a:custGeom>
              <a:avLst/>
              <a:gdLst>
                <a:gd name="connsiteX0" fmla="*/ 0 w 179084"/>
                <a:gd name="connsiteY0" fmla="*/ 0 h 402925"/>
                <a:gd name="connsiteX1" fmla="*/ 179084 w 179084"/>
                <a:gd name="connsiteY1" fmla="*/ 0 h 402925"/>
                <a:gd name="connsiteX2" fmla="*/ 179084 w 179084"/>
                <a:gd name="connsiteY2" fmla="*/ 402926 h 402925"/>
                <a:gd name="connsiteX3" fmla="*/ 0 w 179084"/>
                <a:gd name="connsiteY3" fmla="*/ 402926 h 40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084" h="402925">
                  <a:moveTo>
                    <a:pt x="0" y="0"/>
                  </a:moveTo>
                  <a:lnTo>
                    <a:pt x="179084" y="0"/>
                  </a:lnTo>
                  <a:lnTo>
                    <a:pt x="179084" y="402926"/>
                  </a:lnTo>
                  <a:lnTo>
                    <a:pt x="0" y="402926"/>
                  </a:lnTo>
                  <a:close/>
                </a:path>
              </a:pathLst>
            </a:custGeom>
            <a:solidFill>
              <a:srgbClr val="7F8499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3" name="Forme libre : forme 168">
              <a:extLst>
                <a:ext uri="{FF2B5EF4-FFF2-40B4-BE49-F238E27FC236}">
                  <a16:creationId xmlns:a16="http://schemas.microsoft.com/office/drawing/2014/main" id="{F1BB12C6-A196-6F0E-6AAC-50C6F94E6252}"/>
                </a:ext>
              </a:extLst>
            </p:cNvPr>
            <p:cNvSpPr/>
            <p:nvPr/>
          </p:nvSpPr>
          <p:spPr>
            <a:xfrm>
              <a:off x="8391555" y="2873304"/>
              <a:ext cx="474679" cy="470067"/>
            </a:xfrm>
            <a:custGeom>
              <a:avLst/>
              <a:gdLst>
                <a:gd name="connsiteX0" fmla="*/ 471979 w 474679"/>
                <a:gd name="connsiteY0" fmla="*/ 131129 h 470067"/>
                <a:gd name="connsiteX1" fmla="*/ 471979 w 474679"/>
                <a:gd name="connsiteY1" fmla="*/ 131129 h 470067"/>
                <a:gd name="connsiteX2" fmla="*/ 434683 w 474679"/>
                <a:gd name="connsiteY2" fmla="*/ 121451 h 470067"/>
                <a:gd name="connsiteX3" fmla="*/ 317576 w 474679"/>
                <a:gd name="connsiteY3" fmla="*/ 201455 h 470067"/>
                <a:gd name="connsiteX4" fmla="*/ 254759 w 474679"/>
                <a:gd name="connsiteY4" fmla="*/ 102920 h 470067"/>
                <a:gd name="connsiteX5" fmla="*/ 231165 w 474679"/>
                <a:gd name="connsiteY5" fmla="*/ 84516 h 470067"/>
                <a:gd name="connsiteX6" fmla="*/ 194379 w 474679"/>
                <a:gd name="connsiteY6" fmla="*/ 72253 h 470067"/>
                <a:gd name="connsiteX7" fmla="*/ 179073 w 474679"/>
                <a:gd name="connsiteY7" fmla="*/ 51018 h 470067"/>
                <a:gd name="connsiteX8" fmla="*/ 179073 w 474679"/>
                <a:gd name="connsiteY8" fmla="*/ 0 h 470067"/>
                <a:gd name="connsiteX9" fmla="*/ 156689 w 474679"/>
                <a:gd name="connsiteY9" fmla="*/ 0 h 470067"/>
                <a:gd name="connsiteX10" fmla="*/ 89537 w 474679"/>
                <a:gd name="connsiteY10" fmla="*/ 0 h 470067"/>
                <a:gd name="connsiteX11" fmla="*/ 89537 w 474679"/>
                <a:gd name="connsiteY11" fmla="*/ 52513 h 470067"/>
                <a:gd name="connsiteX12" fmla="*/ 76123 w 474679"/>
                <a:gd name="connsiteY12" fmla="*/ 73022 h 470067"/>
                <a:gd name="connsiteX13" fmla="*/ 26824 w 474679"/>
                <a:gd name="connsiteY13" fmla="*/ 94591 h 470067"/>
                <a:gd name="connsiteX14" fmla="*/ 0 w 474679"/>
                <a:gd name="connsiteY14" fmla="*/ 135605 h 470067"/>
                <a:gd name="connsiteX15" fmla="*/ 0 w 474679"/>
                <a:gd name="connsiteY15" fmla="*/ 272623 h 470067"/>
                <a:gd name="connsiteX16" fmla="*/ 11196 w 474679"/>
                <a:gd name="connsiteY16" fmla="*/ 352566 h 470067"/>
                <a:gd name="connsiteX17" fmla="*/ 44768 w 474679"/>
                <a:gd name="connsiteY17" fmla="*/ 470067 h 470067"/>
                <a:gd name="connsiteX18" fmla="*/ 67152 w 474679"/>
                <a:gd name="connsiteY18" fmla="*/ 425299 h 470067"/>
                <a:gd name="connsiteX19" fmla="*/ 223842 w 474679"/>
                <a:gd name="connsiteY19" fmla="*/ 425299 h 470067"/>
                <a:gd name="connsiteX20" fmla="*/ 223842 w 474679"/>
                <a:gd name="connsiteY20" fmla="*/ 191666 h 470067"/>
                <a:gd name="connsiteX21" fmla="*/ 277016 w 474679"/>
                <a:gd name="connsiteY21" fmla="*/ 255844 h 470067"/>
                <a:gd name="connsiteX22" fmla="*/ 339318 w 474679"/>
                <a:gd name="connsiteY22" fmla="*/ 262347 h 470067"/>
                <a:gd name="connsiteX23" fmla="*/ 465002 w 474679"/>
                <a:gd name="connsiteY23" fmla="*/ 162597 h 470067"/>
                <a:gd name="connsiteX24" fmla="*/ 471979 w 474679"/>
                <a:gd name="connsiteY24" fmla="*/ 131129 h 47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74679" h="470067">
                  <a:moveTo>
                    <a:pt x="471979" y="131129"/>
                  </a:moveTo>
                  <a:lnTo>
                    <a:pt x="471979" y="131129"/>
                  </a:lnTo>
                  <a:cubicBezTo>
                    <a:pt x="465049" y="117270"/>
                    <a:pt x="447479" y="112709"/>
                    <a:pt x="434683" y="121451"/>
                  </a:cubicBezTo>
                  <a:lnTo>
                    <a:pt x="317576" y="201455"/>
                  </a:lnTo>
                  <a:lnTo>
                    <a:pt x="254759" y="102920"/>
                  </a:lnTo>
                  <a:cubicBezTo>
                    <a:pt x="249239" y="94260"/>
                    <a:pt x="240907" y="87763"/>
                    <a:pt x="231165" y="84516"/>
                  </a:cubicBezTo>
                  <a:lnTo>
                    <a:pt x="194379" y="72253"/>
                  </a:lnTo>
                  <a:cubicBezTo>
                    <a:pt x="185237" y="69207"/>
                    <a:pt x="179073" y="60652"/>
                    <a:pt x="179073" y="51018"/>
                  </a:cubicBezTo>
                  <a:lnTo>
                    <a:pt x="179073" y="0"/>
                  </a:lnTo>
                  <a:lnTo>
                    <a:pt x="156689" y="0"/>
                  </a:lnTo>
                  <a:lnTo>
                    <a:pt x="89537" y="0"/>
                  </a:lnTo>
                  <a:lnTo>
                    <a:pt x="89537" y="52513"/>
                  </a:lnTo>
                  <a:cubicBezTo>
                    <a:pt x="89537" y="61407"/>
                    <a:pt x="84273" y="69455"/>
                    <a:pt x="76123" y="73022"/>
                  </a:cubicBezTo>
                  <a:lnTo>
                    <a:pt x="26824" y="94591"/>
                  </a:lnTo>
                  <a:cubicBezTo>
                    <a:pt x="10530" y="101719"/>
                    <a:pt x="0" y="117820"/>
                    <a:pt x="0" y="135605"/>
                  </a:cubicBezTo>
                  <a:lnTo>
                    <a:pt x="0" y="272623"/>
                  </a:lnTo>
                  <a:cubicBezTo>
                    <a:pt x="0" y="299662"/>
                    <a:pt x="3768" y="326569"/>
                    <a:pt x="11196" y="352566"/>
                  </a:cubicBezTo>
                  <a:lnTo>
                    <a:pt x="44768" y="470067"/>
                  </a:lnTo>
                  <a:lnTo>
                    <a:pt x="67152" y="425299"/>
                  </a:lnTo>
                  <a:lnTo>
                    <a:pt x="223842" y="425299"/>
                  </a:lnTo>
                  <a:lnTo>
                    <a:pt x="223842" y="191666"/>
                  </a:lnTo>
                  <a:lnTo>
                    <a:pt x="277016" y="255844"/>
                  </a:lnTo>
                  <a:cubicBezTo>
                    <a:pt x="292556" y="274600"/>
                    <a:pt x="320239" y="277490"/>
                    <a:pt x="339318" y="262347"/>
                  </a:cubicBezTo>
                  <a:lnTo>
                    <a:pt x="465002" y="162597"/>
                  </a:lnTo>
                  <a:cubicBezTo>
                    <a:pt x="474477" y="155075"/>
                    <a:pt x="477388" y="141948"/>
                    <a:pt x="471979" y="131129"/>
                  </a:cubicBezTo>
                  <a:close/>
                </a:path>
              </a:pathLst>
            </a:custGeom>
            <a:solidFill>
              <a:srgbClr val="E6AF78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4" name="Forme libre : forme 169">
              <a:extLst>
                <a:ext uri="{FF2B5EF4-FFF2-40B4-BE49-F238E27FC236}">
                  <a16:creationId xmlns:a16="http://schemas.microsoft.com/office/drawing/2014/main" id="{35B70BBB-15DB-E395-60C9-08B2BA13A3C4}"/>
                </a:ext>
              </a:extLst>
            </p:cNvPr>
            <p:cNvSpPr/>
            <p:nvPr/>
          </p:nvSpPr>
          <p:spPr>
            <a:xfrm>
              <a:off x="8525863" y="3343369"/>
              <a:ext cx="22384" cy="358143"/>
            </a:xfrm>
            <a:custGeom>
              <a:avLst/>
              <a:gdLst>
                <a:gd name="connsiteX0" fmla="*/ 11191 w 22384"/>
                <a:gd name="connsiteY0" fmla="*/ 0 h 358143"/>
                <a:gd name="connsiteX1" fmla="*/ 0 w 22384"/>
                <a:gd name="connsiteY1" fmla="*/ 11191 h 358143"/>
                <a:gd name="connsiteX2" fmla="*/ 0 w 22384"/>
                <a:gd name="connsiteY2" fmla="*/ 358144 h 358143"/>
                <a:gd name="connsiteX3" fmla="*/ 22384 w 22384"/>
                <a:gd name="connsiteY3" fmla="*/ 358144 h 358143"/>
                <a:gd name="connsiteX4" fmla="*/ 22384 w 22384"/>
                <a:gd name="connsiteY4" fmla="*/ 11193 h 358143"/>
                <a:gd name="connsiteX5" fmla="*/ 11191 w 22384"/>
                <a:gd name="connsiteY5" fmla="*/ 0 h 358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84" h="358143">
                  <a:moveTo>
                    <a:pt x="11191" y="0"/>
                  </a:moveTo>
                  <a:cubicBezTo>
                    <a:pt x="5007" y="0"/>
                    <a:pt x="0" y="5010"/>
                    <a:pt x="0" y="11191"/>
                  </a:cubicBezTo>
                  <a:lnTo>
                    <a:pt x="0" y="358144"/>
                  </a:lnTo>
                  <a:lnTo>
                    <a:pt x="22384" y="358144"/>
                  </a:lnTo>
                  <a:lnTo>
                    <a:pt x="22384" y="11193"/>
                  </a:lnTo>
                  <a:cubicBezTo>
                    <a:pt x="22381" y="5010"/>
                    <a:pt x="17371" y="0"/>
                    <a:pt x="11191" y="0"/>
                  </a:cubicBezTo>
                  <a:close/>
                </a:path>
              </a:pathLst>
            </a:custGeom>
            <a:solidFill>
              <a:srgbClr val="707487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5" name="Forme libre : forme 170">
              <a:extLst>
                <a:ext uri="{FF2B5EF4-FFF2-40B4-BE49-F238E27FC236}">
                  <a16:creationId xmlns:a16="http://schemas.microsoft.com/office/drawing/2014/main" id="{C844A19D-4DA1-1966-6E57-DF80DCFC0063}"/>
                </a:ext>
              </a:extLst>
            </p:cNvPr>
            <p:cNvSpPr/>
            <p:nvPr/>
          </p:nvSpPr>
          <p:spPr>
            <a:xfrm>
              <a:off x="8170738" y="3430777"/>
              <a:ext cx="1292229" cy="472195"/>
            </a:xfrm>
            <a:custGeom>
              <a:avLst/>
              <a:gdLst>
                <a:gd name="connsiteX0" fmla="*/ 697935 w 1292229"/>
                <a:gd name="connsiteY0" fmla="*/ 16520 h 472195"/>
                <a:gd name="connsiteX1" fmla="*/ 594297 w 1292229"/>
                <a:gd name="connsiteY1" fmla="*/ 16520 h 472195"/>
                <a:gd name="connsiteX2" fmla="*/ 9472 w 1292229"/>
                <a:gd name="connsiteY2" fmla="*/ 431556 h 472195"/>
                <a:gd name="connsiteX3" fmla="*/ 22425 w 1292229"/>
                <a:gd name="connsiteY3" fmla="*/ 472196 h 472195"/>
                <a:gd name="connsiteX4" fmla="*/ 1269804 w 1292229"/>
                <a:gd name="connsiteY4" fmla="*/ 472196 h 472195"/>
                <a:gd name="connsiteX5" fmla="*/ 1282757 w 1292229"/>
                <a:gd name="connsiteY5" fmla="*/ 431556 h 472195"/>
                <a:gd name="connsiteX6" fmla="*/ 697935 w 1292229"/>
                <a:gd name="connsiteY6" fmla="*/ 16520 h 47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2229" h="472195">
                  <a:moveTo>
                    <a:pt x="697935" y="16520"/>
                  </a:moveTo>
                  <a:cubicBezTo>
                    <a:pt x="666900" y="-5507"/>
                    <a:pt x="625332" y="-5507"/>
                    <a:pt x="594297" y="16520"/>
                  </a:cubicBezTo>
                  <a:lnTo>
                    <a:pt x="9472" y="431556"/>
                  </a:lnTo>
                  <a:cubicBezTo>
                    <a:pt x="-8316" y="444179"/>
                    <a:pt x="617" y="472196"/>
                    <a:pt x="22425" y="472196"/>
                  </a:cubicBezTo>
                  <a:lnTo>
                    <a:pt x="1269804" y="472196"/>
                  </a:lnTo>
                  <a:cubicBezTo>
                    <a:pt x="1291615" y="472196"/>
                    <a:pt x="1300545" y="444179"/>
                    <a:pt x="1282757" y="431556"/>
                  </a:cubicBezTo>
                  <a:lnTo>
                    <a:pt x="697935" y="16520"/>
                  </a:lnTo>
                  <a:close/>
                </a:path>
              </a:pathLst>
            </a:custGeom>
            <a:solidFill>
              <a:srgbClr val="D19A6E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grpSp>
          <p:nvGrpSpPr>
            <p:cNvPr id="1086" name="Graphique 139">
              <a:extLst>
                <a:ext uri="{FF2B5EF4-FFF2-40B4-BE49-F238E27FC236}">
                  <a16:creationId xmlns:a16="http://schemas.microsoft.com/office/drawing/2014/main" id="{C9E35B8C-226A-92CB-F0F3-DE9D2C05E2AD}"/>
                </a:ext>
              </a:extLst>
            </p:cNvPr>
            <p:cNvGrpSpPr/>
            <p:nvPr/>
          </p:nvGrpSpPr>
          <p:grpSpPr>
            <a:xfrm>
              <a:off x="8839239" y="3500058"/>
              <a:ext cx="290991" cy="219517"/>
              <a:chOff x="8839239" y="3500058"/>
              <a:chExt cx="290991" cy="219517"/>
            </a:xfrm>
            <a:solidFill>
              <a:srgbClr val="C8FF82"/>
            </a:solidFill>
          </p:grpSpPr>
          <p:sp>
            <p:nvSpPr>
              <p:cNvPr id="1098" name="Forme libre : forme 183">
                <a:extLst>
                  <a:ext uri="{FF2B5EF4-FFF2-40B4-BE49-F238E27FC236}">
                    <a16:creationId xmlns:a16="http://schemas.microsoft.com/office/drawing/2014/main" id="{9A9AB603-89C9-3E13-A1F1-FCD1AB2F3C5A}"/>
                  </a:ext>
                </a:extLst>
              </p:cNvPr>
              <p:cNvSpPr/>
              <p:nvPr/>
            </p:nvSpPr>
            <p:spPr>
              <a:xfrm>
                <a:off x="8928820" y="3563612"/>
                <a:ext cx="201410" cy="155963"/>
              </a:xfrm>
              <a:custGeom>
                <a:avLst/>
                <a:gdLst>
                  <a:gd name="connsiteX0" fmla="*/ 179006 w 201410"/>
                  <a:gd name="connsiteY0" fmla="*/ 155963 h 155963"/>
                  <a:gd name="connsiteX1" fmla="*/ 166066 w 201410"/>
                  <a:gd name="connsiteY1" fmla="*/ 151832 h 155963"/>
                  <a:gd name="connsiteX2" fmla="*/ 9421 w 201410"/>
                  <a:gd name="connsiteY2" fmla="*/ 40655 h 155963"/>
                  <a:gd name="connsiteX3" fmla="*/ 4130 w 201410"/>
                  <a:gd name="connsiteY3" fmla="*/ 9440 h 155963"/>
                  <a:gd name="connsiteX4" fmla="*/ 35345 w 201410"/>
                  <a:gd name="connsiteY4" fmla="*/ 4149 h 155963"/>
                  <a:gd name="connsiteX5" fmla="*/ 191990 w 201410"/>
                  <a:gd name="connsiteY5" fmla="*/ 115327 h 155963"/>
                  <a:gd name="connsiteX6" fmla="*/ 197281 w 201410"/>
                  <a:gd name="connsiteY6" fmla="*/ 146541 h 155963"/>
                  <a:gd name="connsiteX7" fmla="*/ 179006 w 201410"/>
                  <a:gd name="connsiteY7" fmla="*/ 155963 h 155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410" h="155963">
                    <a:moveTo>
                      <a:pt x="179006" y="155963"/>
                    </a:moveTo>
                    <a:cubicBezTo>
                      <a:pt x="174525" y="155963"/>
                      <a:pt x="169999" y="154630"/>
                      <a:pt x="166066" y="151832"/>
                    </a:cubicBezTo>
                    <a:lnTo>
                      <a:pt x="9421" y="40655"/>
                    </a:lnTo>
                    <a:cubicBezTo>
                      <a:pt x="-657" y="33507"/>
                      <a:pt x="-3017" y="19538"/>
                      <a:pt x="4130" y="9440"/>
                    </a:cubicBezTo>
                    <a:cubicBezTo>
                      <a:pt x="11300" y="-638"/>
                      <a:pt x="25247" y="-3042"/>
                      <a:pt x="35345" y="4149"/>
                    </a:cubicBezTo>
                    <a:lnTo>
                      <a:pt x="191990" y="115327"/>
                    </a:lnTo>
                    <a:cubicBezTo>
                      <a:pt x="202068" y="122474"/>
                      <a:pt x="204428" y="136444"/>
                      <a:pt x="197281" y="146541"/>
                    </a:cubicBezTo>
                    <a:cubicBezTo>
                      <a:pt x="192910" y="152683"/>
                      <a:pt x="186024" y="155963"/>
                      <a:pt x="179006" y="155963"/>
                    </a:cubicBezTo>
                    <a:close/>
                  </a:path>
                </a:pathLst>
              </a:custGeom>
              <a:solidFill>
                <a:srgbClr val="685F76"/>
              </a:solidFill>
              <a:ln w="27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3200"/>
              </a:p>
            </p:txBody>
          </p:sp>
          <p:sp>
            <p:nvSpPr>
              <p:cNvPr id="1099" name="Forme libre : forme 184">
                <a:extLst>
                  <a:ext uri="{FF2B5EF4-FFF2-40B4-BE49-F238E27FC236}">
                    <a16:creationId xmlns:a16="http://schemas.microsoft.com/office/drawing/2014/main" id="{4B2124C9-D0CF-DEEC-E693-62E594ED8F52}"/>
                  </a:ext>
                </a:extLst>
              </p:cNvPr>
              <p:cNvSpPr/>
              <p:nvPr/>
            </p:nvSpPr>
            <p:spPr>
              <a:xfrm>
                <a:off x="8839239" y="3500058"/>
                <a:ext cx="67105" cy="60640"/>
              </a:xfrm>
              <a:custGeom>
                <a:avLst/>
                <a:gdLst>
                  <a:gd name="connsiteX0" fmla="*/ 44701 w 67105"/>
                  <a:gd name="connsiteY0" fmla="*/ 60641 h 60640"/>
                  <a:gd name="connsiteX1" fmla="*/ 31761 w 67105"/>
                  <a:gd name="connsiteY1" fmla="*/ 56509 h 60640"/>
                  <a:gd name="connsiteX2" fmla="*/ 9421 w 67105"/>
                  <a:gd name="connsiteY2" fmla="*/ 40639 h 60640"/>
                  <a:gd name="connsiteX3" fmla="*/ 4130 w 67105"/>
                  <a:gd name="connsiteY3" fmla="*/ 9425 h 60640"/>
                  <a:gd name="connsiteX4" fmla="*/ 35345 w 67105"/>
                  <a:gd name="connsiteY4" fmla="*/ 4134 h 60640"/>
                  <a:gd name="connsiteX5" fmla="*/ 57685 w 67105"/>
                  <a:gd name="connsiteY5" fmla="*/ 20004 h 60640"/>
                  <a:gd name="connsiteX6" fmla="*/ 62976 w 67105"/>
                  <a:gd name="connsiteY6" fmla="*/ 51218 h 60640"/>
                  <a:gd name="connsiteX7" fmla="*/ 44701 w 67105"/>
                  <a:gd name="connsiteY7" fmla="*/ 60641 h 60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105" h="60640">
                    <a:moveTo>
                      <a:pt x="44701" y="60641"/>
                    </a:moveTo>
                    <a:cubicBezTo>
                      <a:pt x="40220" y="60641"/>
                      <a:pt x="35694" y="59308"/>
                      <a:pt x="31761" y="56509"/>
                    </a:cubicBezTo>
                    <a:lnTo>
                      <a:pt x="9421" y="40639"/>
                    </a:lnTo>
                    <a:cubicBezTo>
                      <a:pt x="-657" y="33470"/>
                      <a:pt x="-3017" y="19500"/>
                      <a:pt x="4130" y="9425"/>
                    </a:cubicBezTo>
                    <a:cubicBezTo>
                      <a:pt x="11278" y="-631"/>
                      <a:pt x="25269" y="-3036"/>
                      <a:pt x="35345" y="4134"/>
                    </a:cubicBezTo>
                    <a:lnTo>
                      <a:pt x="57685" y="20004"/>
                    </a:lnTo>
                    <a:cubicBezTo>
                      <a:pt x="67763" y="27173"/>
                      <a:pt x="70123" y="41143"/>
                      <a:pt x="62976" y="51218"/>
                    </a:cubicBezTo>
                    <a:cubicBezTo>
                      <a:pt x="58605" y="57363"/>
                      <a:pt x="51719" y="60641"/>
                      <a:pt x="44701" y="60641"/>
                    </a:cubicBezTo>
                    <a:close/>
                  </a:path>
                </a:pathLst>
              </a:custGeom>
              <a:solidFill>
                <a:srgbClr val="685F76"/>
              </a:solidFill>
              <a:ln w="27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3200"/>
              </a:p>
            </p:txBody>
          </p:sp>
        </p:grpSp>
        <p:sp>
          <p:nvSpPr>
            <p:cNvPr id="1087" name="Forme libre : forme 172">
              <a:extLst>
                <a:ext uri="{FF2B5EF4-FFF2-40B4-BE49-F238E27FC236}">
                  <a16:creationId xmlns:a16="http://schemas.microsoft.com/office/drawing/2014/main" id="{E48F482B-38DB-7E54-CF0B-1CCB1A552445}"/>
                </a:ext>
              </a:extLst>
            </p:cNvPr>
            <p:cNvSpPr/>
            <p:nvPr/>
          </p:nvSpPr>
          <p:spPr>
            <a:xfrm>
              <a:off x="8170738" y="3430840"/>
              <a:ext cx="671756" cy="472132"/>
            </a:xfrm>
            <a:custGeom>
              <a:avLst/>
              <a:gdLst>
                <a:gd name="connsiteX0" fmla="*/ 287876 w 671756"/>
                <a:gd name="connsiteY0" fmla="*/ 431493 h 472132"/>
                <a:gd name="connsiteX1" fmla="*/ 655308 w 671756"/>
                <a:gd name="connsiteY1" fmla="*/ 16453 h 472132"/>
                <a:gd name="connsiteX2" fmla="*/ 671756 w 671756"/>
                <a:gd name="connsiteY2" fmla="*/ 3770 h 472132"/>
                <a:gd name="connsiteX3" fmla="*/ 594297 w 671756"/>
                <a:gd name="connsiteY3" fmla="*/ 16453 h 472132"/>
                <a:gd name="connsiteX4" fmla="*/ 9472 w 671756"/>
                <a:gd name="connsiteY4" fmla="*/ 431493 h 472132"/>
                <a:gd name="connsiteX5" fmla="*/ 22428 w 671756"/>
                <a:gd name="connsiteY5" fmla="*/ 472132 h 472132"/>
                <a:gd name="connsiteX6" fmla="*/ 296015 w 671756"/>
                <a:gd name="connsiteY6" fmla="*/ 472132 h 472132"/>
                <a:gd name="connsiteX7" fmla="*/ 287876 w 671756"/>
                <a:gd name="connsiteY7" fmla="*/ 431493 h 47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1756" h="472132">
                  <a:moveTo>
                    <a:pt x="287876" y="431493"/>
                  </a:moveTo>
                  <a:lnTo>
                    <a:pt x="655308" y="16453"/>
                  </a:lnTo>
                  <a:cubicBezTo>
                    <a:pt x="660414" y="10689"/>
                    <a:pt x="665980" y="6519"/>
                    <a:pt x="671756" y="3770"/>
                  </a:cubicBezTo>
                  <a:cubicBezTo>
                    <a:pt x="645841" y="-3975"/>
                    <a:pt x="617207" y="195"/>
                    <a:pt x="594297" y="16453"/>
                  </a:cubicBezTo>
                  <a:lnTo>
                    <a:pt x="9472" y="431493"/>
                  </a:lnTo>
                  <a:cubicBezTo>
                    <a:pt x="-8315" y="444116"/>
                    <a:pt x="614" y="472132"/>
                    <a:pt x="22428" y="472132"/>
                  </a:cubicBezTo>
                  <a:lnTo>
                    <a:pt x="296015" y="472132"/>
                  </a:lnTo>
                  <a:cubicBezTo>
                    <a:pt x="282313" y="472132"/>
                    <a:pt x="276702" y="444116"/>
                    <a:pt x="287876" y="431493"/>
                  </a:cubicBezTo>
                  <a:close/>
                </a:path>
              </a:pathLst>
            </a:custGeom>
            <a:solidFill>
              <a:srgbClr val="966A5B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8" name="Forme libre : forme 173">
              <a:extLst>
                <a:ext uri="{FF2B5EF4-FFF2-40B4-BE49-F238E27FC236}">
                  <a16:creationId xmlns:a16="http://schemas.microsoft.com/office/drawing/2014/main" id="{94179503-85A8-B293-625B-724AC1EA7600}"/>
                </a:ext>
              </a:extLst>
            </p:cNvPr>
            <p:cNvSpPr/>
            <p:nvPr/>
          </p:nvSpPr>
          <p:spPr>
            <a:xfrm>
              <a:off x="8480130" y="2873304"/>
              <a:ext cx="92021" cy="67152"/>
            </a:xfrm>
            <a:custGeom>
              <a:avLst/>
              <a:gdLst>
                <a:gd name="connsiteX0" fmla="*/ 45730 w 92021"/>
                <a:gd name="connsiteY0" fmla="*/ 67152 h 67152"/>
                <a:gd name="connsiteX1" fmla="*/ 92021 w 92021"/>
                <a:gd name="connsiteY1" fmla="*/ 58790 h 67152"/>
                <a:gd name="connsiteX2" fmla="*/ 90498 w 92021"/>
                <a:gd name="connsiteY2" fmla="*/ 51021 h 67152"/>
                <a:gd name="connsiteX3" fmla="*/ 90498 w 92021"/>
                <a:gd name="connsiteY3" fmla="*/ 0 h 67152"/>
                <a:gd name="connsiteX4" fmla="*/ 68114 w 92021"/>
                <a:gd name="connsiteY4" fmla="*/ 0 h 67152"/>
                <a:gd name="connsiteX5" fmla="*/ 961 w 92021"/>
                <a:gd name="connsiteY5" fmla="*/ 0 h 67152"/>
                <a:gd name="connsiteX6" fmla="*/ 961 w 92021"/>
                <a:gd name="connsiteY6" fmla="*/ 52511 h 67152"/>
                <a:gd name="connsiteX7" fmla="*/ 0 w 92021"/>
                <a:gd name="connsiteY7" fmla="*/ 58991 h 67152"/>
                <a:gd name="connsiteX8" fmla="*/ 45730 w 92021"/>
                <a:gd name="connsiteY8" fmla="*/ 67152 h 6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021" h="67152">
                  <a:moveTo>
                    <a:pt x="45730" y="67152"/>
                  </a:moveTo>
                  <a:cubicBezTo>
                    <a:pt x="62024" y="67152"/>
                    <a:pt x="77569" y="64103"/>
                    <a:pt x="92021" y="58790"/>
                  </a:cubicBezTo>
                  <a:cubicBezTo>
                    <a:pt x="91104" y="56334"/>
                    <a:pt x="90498" y="53747"/>
                    <a:pt x="90498" y="51021"/>
                  </a:cubicBezTo>
                  <a:lnTo>
                    <a:pt x="90498" y="0"/>
                  </a:lnTo>
                  <a:lnTo>
                    <a:pt x="68114" y="0"/>
                  </a:lnTo>
                  <a:lnTo>
                    <a:pt x="961" y="0"/>
                  </a:lnTo>
                  <a:lnTo>
                    <a:pt x="961" y="52511"/>
                  </a:lnTo>
                  <a:cubicBezTo>
                    <a:pt x="961" y="54747"/>
                    <a:pt x="625" y="56923"/>
                    <a:pt x="0" y="58991"/>
                  </a:cubicBezTo>
                  <a:cubicBezTo>
                    <a:pt x="14295" y="64178"/>
                    <a:pt x="29644" y="67152"/>
                    <a:pt x="45730" y="67152"/>
                  </a:cubicBezTo>
                  <a:close/>
                </a:path>
              </a:pathLst>
            </a:custGeom>
            <a:solidFill>
              <a:srgbClr val="D29B6E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89" name="Forme libre : forme 174">
              <a:extLst>
                <a:ext uri="{FF2B5EF4-FFF2-40B4-BE49-F238E27FC236}">
                  <a16:creationId xmlns:a16="http://schemas.microsoft.com/office/drawing/2014/main" id="{65AC967E-CB95-861F-0F63-7E5AA8DF4257}"/>
                </a:ext>
              </a:extLst>
            </p:cNvPr>
            <p:cNvSpPr/>
            <p:nvPr/>
          </p:nvSpPr>
          <p:spPr>
            <a:xfrm>
              <a:off x="8436323" y="2716615"/>
              <a:ext cx="179073" cy="201457"/>
            </a:xfrm>
            <a:custGeom>
              <a:avLst/>
              <a:gdLst>
                <a:gd name="connsiteX0" fmla="*/ 89537 w 179073"/>
                <a:gd name="connsiteY0" fmla="*/ 201457 h 201457"/>
                <a:gd name="connsiteX1" fmla="*/ 89537 w 179073"/>
                <a:gd name="connsiteY1" fmla="*/ 201457 h 201457"/>
                <a:gd name="connsiteX2" fmla="*/ 0 w 179073"/>
                <a:gd name="connsiteY2" fmla="*/ 111921 h 201457"/>
                <a:gd name="connsiteX3" fmla="*/ 0 w 179073"/>
                <a:gd name="connsiteY3" fmla="*/ 67152 h 201457"/>
                <a:gd name="connsiteX4" fmla="*/ 67152 w 179073"/>
                <a:gd name="connsiteY4" fmla="*/ 0 h 201457"/>
                <a:gd name="connsiteX5" fmla="*/ 111921 w 179073"/>
                <a:gd name="connsiteY5" fmla="*/ 0 h 201457"/>
                <a:gd name="connsiteX6" fmla="*/ 179073 w 179073"/>
                <a:gd name="connsiteY6" fmla="*/ 67152 h 201457"/>
                <a:gd name="connsiteX7" fmla="*/ 179073 w 179073"/>
                <a:gd name="connsiteY7" fmla="*/ 111921 h 201457"/>
                <a:gd name="connsiteX8" fmla="*/ 89537 w 179073"/>
                <a:gd name="connsiteY8" fmla="*/ 201457 h 20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073" h="201457">
                  <a:moveTo>
                    <a:pt x="89537" y="201457"/>
                  </a:moveTo>
                  <a:lnTo>
                    <a:pt x="89537" y="201457"/>
                  </a:lnTo>
                  <a:cubicBezTo>
                    <a:pt x="40086" y="201457"/>
                    <a:pt x="0" y="161371"/>
                    <a:pt x="0" y="111921"/>
                  </a:cubicBezTo>
                  <a:lnTo>
                    <a:pt x="0" y="67152"/>
                  </a:lnTo>
                  <a:cubicBezTo>
                    <a:pt x="0" y="30066"/>
                    <a:pt x="30066" y="0"/>
                    <a:pt x="67152" y="0"/>
                  </a:cubicBezTo>
                  <a:lnTo>
                    <a:pt x="111921" y="0"/>
                  </a:lnTo>
                  <a:cubicBezTo>
                    <a:pt x="149007" y="0"/>
                    <a:pt x="179073" y="30066"/>
                    <a:pt x="179073" y="67152"/>
                  </a:cubicBezTo>
                  <a:lnTo>
                    <a:pt x="179073" y="111921"/>
                  </a:lnTo>
                  <a:cubicBezTo>
                    <a:pt x="179073" y="161369"/>
                    <a:pt x="138987" y="201457"/>
                    <a:pt x="89537" y="201457"/>
                  </a:cubicBezTo>
                  <a:close/>
                </a:path>
              </a:pathLst>
            </a:custGeom>
            <a:solidFill>
              <a:srgbClr val="F0C087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90" name="Forme libre : forme 175">
              <a:extLst>
                <a:ext uri="{FF2B5EF4-FFF2-40B4-BE49-F238E27FC236}">
                  <a16:creationId xmlns:a16="http://schemas.microsoft.com/office/drawing/2014/main" id="{98043160-A930-2183-072E-206F2DB31AE5}"/>
                </a:ext>
              </a:extLst>
            </p:cNvPr>
            <p:cNvSpPr/>
            <p:nvPr/>
          </p:nvSpPr>
          <p:spPr>
            <a:xfrm>
              <a:off x="8436323" y="2716615"/>
              <a:ext cx="123111" cy="201457"/>
            </a:xfrm>
            <a:custGeom>
              <a:avLst/>
              <a:gdLst>
                <a:gd name="connsiteX0" fmla="*/ 67152 w 123111"/>
                <a:gd name="connsiteY0" fmla="*/ 111921 h 201457"/>
                <a:gd name="connsiteX1" fmla="*/ 67152 w 123111"/>
                <a:gd name="connsiteY1" fmla="*/ 67152 h 201457"/>
                <a:gd name="connsiteX2" fmla="*/ 123111 w 123111"/>
                <a:gd name="connsiteY2" fmla="*/ 1129 h 201457"/>
                <a:gd name="connsiteX3" fmla="*/ 111921 w 123111"/>
                <a:gd name="connsiteY3" fmla="*/ 0 h 201457"/>
                <a:gd name="connsiteX4" fmla="*/ 67152 w 123111"/>
                <a:gd name="connsiteY4" fmla="*/ 0 h 201457"/>
                <a:gd name="connsiteX5" fmla="*/ 0 w 123111"/>
                <a:gd name="connsiteY5" fmla="*/ 67152 h 201457"/>
                <a:gd name="connsiteX6" fmla="*/ 0 w 123111"/>
                <a:gd name="connsiteY6" fmla="*/ 111921 h 201457"/>
                <a:gd name="connsiteX7" fmla="*/ 89537 w 123111"/>
                <a:gd name="connsiteY7" fmla="*/ 201457 h 201457"/>
                <a:gd name="connsiteX8" fmla="*/ 123111 w 123111"/>
                <a:gd name="connsiteY8" fmla="*/ 194817 h 201457"/>
                <a:gd name="connsiteX9" fmla="*/ 67152 w 123111"/>
                <a:gd name="connsiteY9" fmla="*/ 111921 h 20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111" h="201457">
                  <a:moveTo>
                    <a:pt x="67152" y="111921"/>
                  </a:moveTo>
                  <a:lnTo>
                    <a:pt x="67152" y="67152"/>
                  </a:lnTo>
                  <a:cubicBezTo>
                    <a:pt x="67152" y="33900"/>
                    <a:pt x="91382" y="6481"/>
                    <a:pt x="123111" y="1129"/>
                  </a:cubicBezTo>
                  <a:cubicBezTo>
                    <a:pt x="119454" y="512"/>
                    <a:pt x="115752" y="0"/>
                    <a:pt x="111921" y="0"/>
                  </a:cubicBezTo>
                  <a:lnTo>
                    <a:pt x="67152" y="0"/>
                  </a:lnTo>
                  <a:cubicBezTo>
                    <a:pt x="30066" y="0"/>
                    <a:pt x="0" y="30066"/>
                    <a:pt x="0" y="67152"/>
                  </a:cubicBezTo>
                  <a:lnTo>
                    <a:pt x="0" y="111921"/>
                  </a:lnTo>
                  <a:cubicBezTo>
                    <a:pt x="0" y="161369"/>
                    <a:pt x="40086" y="201457"/>
                    <a:pt x="89537" y="201457"/>
                  </a:cubicBezTo>
                  <a:cubicBezTo>
                    <a:pt x="101430" y="201457"/>
                    <a:pt x="112731" y="199028"/>
                    <a:pt x="123111" y="194817"/>
                  </a:cubicBezTo>
                  <a:cubicBezTo>
                    <a:pt x="90327" y="181522"/>
                    <a:pt x="67152" y="149476"/>
                    <a:pt x="67152" y="111921"/>
                  </a:cubicBezTo>
                  <a:close/>
                </a:path>
              </a:pathLst>
            </a:custGeom>
            <a:solidFill>
              <a:srgbClr val="E6AF78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91" name="Forme libre : forme 176">
              <a:extLst>
                <a:ext uri="{FF2B5EF4-FFF2-40B4-BE49-F238E27FC236}">
                  <a16:creationId xmlns:a16="http://schemas.microsoft.com/office/drawing/2014/main" id="{2838C5A7-4DB6-BDD7-DFC2-3052BC73ED0D}"/>
                </a:ext>
              </a:extLst>
            </p:cNvPr>
            <p:cNvSpPr/>
            <p:nvPr/>
          </p:nvSpPr>
          <p:spPr>
            <a:xfrm>
              <a:off x="8436323" y="2716615"/>
              <a:ext cx="179073" cy="89536"/>
            </a:xfrm>
            <a:custGeom>
              <a:avLst/>
              <a:gdLst>
                <a:gd name="connsiteX0" fmla="*/ 0 w 179073"/>
                <a:gd name="connsiteY0" fmla="*/ 67152 h 89536"/>
                <a:gd name="connsiteX1" fmla="*/ 179073 w 179073"/>
                <a:gd name="connsiteY1" fmla="*/ 89537 h 89536"/>
                <a:gd name="connsiteX2" fmla="*/ 179073 w 179073"/>
                <a:gd name="connsiteY2" fmla="*/ 67152 h 89536"/>
                <a:gd name="connsiteX3" fmla="*/ 111921 w 179073"/>
                <a:gd name="connsiteY3" fmla="*/ 0 h 89536"/>
                <a:gd name="connsiteX4" fmla="*/ 67152 w 179073"/>
                <a:gd name="connsiteY4" fmla="*/ 0 h 89536"/>
                <a:gd name="connsiteX5" fmla="*/ 0 w 179073"/>
                <a:gd name="connsiteY5" fmla="*/ 67152 h 89536"/>
                <a:gd name="connsiteX6" fmla="*/ 0 w 179073"/>
                <a:gd name="connsiteY6" fmla="*/ 67152 h 89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073" h="89536">
                  <a:moveTo>
                    <a:pt x="0" y="67152"/>
                  </a:moveTo>
                  <a:cubicBezTo>
                    <a:pt x="0" y="67152"/>
                    <a:pt x="67152" y="89537"/>
                    <a:pt x="179073" y="89537"/>
                  </a:cubicBezTo>
                  <a:lnTo>
                    <a:pt x="179073" y="67152"/>
                  </a:lnTo>
                  <a:cubicBezTo>
                    <a:pt x="179073" y="30066"/>
                    <a:pt x="149007" y="0"/>
                    <a:pt x="111921" y="0"/>
                  </a:cubicBezTo>
                  <a:lnTo>
                    <a:pt x="67152" y="0"/>
                  </a:lnTo>
                  <a:cubicBezTo>
                    <a:pt x="30066" y="0"/>
                    <a:pt x="0" y="30066"/>
                    <a:pt x="0" y="67152"/>
                  </a:cubicBezTo>
                  <a:lnTo>
                    <a:pt x="0" y="67152"/>
                  </a:lnTo>
                  <a:close/>
                </a:path>
              </a:pathLst>
            </a:custGeom>
            <a:solidFill>
              <a:srgbClr val="694B4B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92" name="Forme libre : forme 177">
              <a:extLst>
                <a:ext uri="{FF2B5EF4-FFF2-40B4-BE49-F238E27FC236}">
                  <a16:creationId xmlns:a16="http://schemas.microsoft.com/office/drawing/2014/main" id="{FF1673E6-EB2B-0B71-4E5E-0D1FD4DD9BC6}"/>
                </a:ext>
              </a:extLst>
            </p:cNvPr>
            <p:cNvSpPr/>
            <p:nvPr/>
          </p:nvSpPr>
          <p:spPr>
            <a:xfrm>
              <a:off x="8436323" y="2716615"/>
              <a:ext cx="123111" cy="81540"/>
            </a:xfrm>
            <a:custGeom>
              <a:avLst/>
              <a:gdLst>
                <a:gd name="connsiteX0" fmla="*/ 67152 w 123111"/>
                <a:gd name="connsiteY0" fmla="*/ 67152 h 81540"/>
                <a:gd name="connsiteX1" fmla="*/ 123111 w 123111"/>
                <a:gd name="connsiteY1" fmla="*/ 1129 h 81540"/>
                <a:gd name="connsiteX2" fmla="*/ 111921 w 123111"/>
                <a:gd name="connsiteY2" fmla="*/ 0 h 81540"/>
                <a:gd name="connsiteX3" fmla="*/ 67152 w 123111"/>
                <a:gd name="connsiteY3" fmla="*/ 0 h 81540"/>
                <a:gd name="connsiteX4" fmla="*/ 0 w 123111"/>
                <a:gd name="connsiteY4" fmla="*/ 67152 h 81540"/>
                <a:gd name="connsiteX5" fmla="*/ 67152 w 123111"/>
                <a:gd name="connsiteY5" fmla="*/ 81541 h 81540"/>
                <a:gd name="connsiteX6" fmla="*/ 67152 w 123111"/>
                <a:gd name="connsiteY6" fmla="*/ 67152 h 8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111" h="81540">
                  <a:moveTo>
                    <a:pt x="67152" y="67152"/>
                  </a:moveTo>
                  <a:cubicBezTo>
                    <a:pt x="67152" y="33900"/>
                    <a:pt x="91382" y="6481"/>
                    <a:pt x="123111" y="1129"/>
                  </a:cubicBezTo>
                  <a:cubicBezTo>
                    <a:pt x="119454" y="512"/>
                    <a:pt x="115752" y="0"/>
                    <a:pt x="111921" y="0"/>
                  </a:cubicBezTo>
                  <a:lnTo>
                    <a:pt x="67152" y="0"/>
                  </a:lnTo>
                  <a:cubicBezTo>
                    <a:pt x="30066" y="0"/>
                    <a:pt x="0" y="30066"/>
                    <a:pt x="0" y="67152"/>
                  </a:cubicBezTo>
                  <a:cubicBezTo>
                    <a:pt x="0" y="67152"/>
                    <a:pt x="24075" y="75112"/>
                    <a:pt x="67152" y="81541"/>
                  </a:cubicBezTo>
                  <a:lnTo>
                    <a:pt x="67152" y="67152"/>
                  </a:lnTo>
                  <a:close/>
                </a:path>
              </a:pathLst>
            </a:custGeom>
            <a:solidFill>
              <a:srgbClr val="5A4146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sp>
          <p:nvSpPr>
            <p:cNvPr id="1093" name="Forme libre : forme 178">
              <a:extLst>
                <a:ext uri="{FF2B5EF4-FFF2-40B4-BE49-F238E27FC236}">
                  <a16:creationId xmlns:a16="http://schemas.microsoft.com/office/drawing/2014/main" id="{E218FEAC-4A45-82CF-65F7-7393490DA60F}"/>
                </a:ext>
              </a:extLst>
            </p:cNvPr>
            <p:cNvSpPr/>
            <p:nvPr/>
          </p:nvSpPr>
          <p:spPr>
            <a:xfrm>
              <a:off x="8391552" y="2949303"/>
              <a:ext cx="436740" cy="349299"/>
            </a:xfrm>
            <a:custGeom>
              <a:avLst/>
              <a:gdLst>
                <a:gd name="connsiteX0" fmla="*/ 406969 w 436740"/>
                <a:gd name="connsiteY0" fmla="*/ 64387 h 349299"/>
                <a:gd name="connsiteX1" fmla="*/ 317576 w 436740"/>
                <a:gd name="connsiteY1" fmla="*/ 125458 h 349299"/>
                <a:gd name="connsiteX2" fmla="*/ 254759 w 436740"/>
                <a:gd name="connsiteY2" fmla="*/ 26920 h 349299"/>
                <a:gd name="connsiteX3" fmla="*/ 231165 w 436740"/>
                <a:gd name="connsiteY3" fmla="*/ 8514 h 349299"/>
                <a:gd name="connsiteX4" fmla="*/ 205616 w 436740"/>
                <a:gd name="connsiteY4" fmla="*/ 0 h 349299"/>
                <a:gd name="connsiteX5" fmla="*/ 134305 w 436740"/>
                <a:gd name="connsiteY5" fmla="*/ 35922 h 349299"/>
                <a:gd name="connsiteX6" fmla="*/ 64668 w 436740"/>
                <a:gd name="connsiteY6" fmla="*/ 2033 h 349299"/>
                <a:gd name="connsiteX7" fmla="*/ 26824 w 436740"/>
                <a:gd name="connsiteY7" fmla="*/ 18589 h 349299"/>
                <a:gd name="connsiteX8" fmla="*/ 0 w 436740"/>
                <a:gd name="connsiteY8" fmla="*/ 59606 h 349299"/>
                <a:gd name="connsiteX9" fmla="*/ 0 w 436740"/>
                <a:gd name="connsiteY9" fmla="*/ 349300 h 349299"/>
                <a:gd name="connsiteX10" fmla="*/ 223842 w 436740"/>
                <a:gd name="connsiteY10" fmla="*/ 349300 h 349299"/>
                <a:gd name="connsiteX11" fmla="*/ 223842 w 436740"/>
                <a:gd name="connsiteY11" fmla="*/ 115667 h 349299"/>
                <a:gd name="connsiteX12" fmla="*/ 277016 w 436740"/>
                <a:gd name="connsiteY12" fmla="*/ 179844 h 349299"/>
                <a:gd name="connsiteX13" fmla="*/ 339321 w 436740"/>
                <a:gd name="connsiteY13" fmla="*/ 186347 h 349299"/>
                <a:gd name="connsiteX14" fmla="*/ 436740 w 436740"/>
                <a:gd name="connsiteY14" fmla="*/ 109032 h 34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6740" h="349299">
                  <a:moveTo>
                    <a:pt x="406969" y="64387"/>
                  </a:moveTo>
                  <a:lnTo>
                    <a:pt x="317576" y="125458"/>
                  </a:lnTo>
                  <a:lnTo>
                    <a:pt x="254759" y="26920"/>
                  </a:lnTo>
                  <a:cubicBezTo>
                    <a:pt x="249239" y="18264"/>
                    <a:pt x="240907" y="11764"/>
                    <a:pt x="231165" y="8514"/>
                  </a:cubicBezTo>
                  <a:lnTo>
                    <a:pt x="205616" y="0"/>
                  </a:lnTo>
                  <a:cubicBezTo>
                    <a:pt x="189275" y="21690"/>
                    <a:pt x="163553" y="35922"/>
                    <a:pt x="134305" y="35922"/>
                  </a:cubicBezTo>
                  <a:cubicBezTo>
                    <a:pt x="106005" y="35922"/>
                    <a:pt x="81078" y="22533"/>
                    <a:pt x="64668" y="2033"/>
                  </a:cubicBezTo>
                  <a:lnTo>
                    <a:pt x="26824" y="18589"/>
                  </a:lnTo>
                  <a:cubicBezTo>
                    <a:pt x="10530" y="25717"/>
                    <a:pt x="0" y="41818"/>
                    <a:pt x="0" y="59606"/>
                  </a:cubicBezTo>
                  <a:lnTo>
                    <a:pt x="0" y="349300"/>
                  </a:lnTo>
                  <a:lnTo>
                    <a:pt x="223842" y="349300"/>
                  </a:lnTo>
                  <a:lnTo>
                    <a:pt x="223842" y="115667"/>
                  </a:lnTo>
                  <a:lnTo>
                    <a:pt x="277016" y="179844"/>
                  </a:lnTo>
                  <a:cubicBezTo>
                    <a:pt x="292556" y="198601"/>
                    <a:pt x="320239" y="201488"/>
                    <a:pt x="339321" y="186347"/>
                  </a:cubicBezTo>
                  <a:lnTo>
                    <a:pt x="436740" y="109032"/>
                  </a:lnTo>
                </a:path>
              </a:pathLst>
            </a:custGeom>
            <a:solidFill>
              <a:srgbClr val="682179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  <p:grpSp>
          <p:nvGrpSpPr>
            <p:cNvPr id="1094" name="Graphique 139">
              <a:extLst>
                <a:ext uri="{FF2B5EF4-FFF2-40B4-BE49-F238E27FC236}">
                  <a16:creationId xmlns:a16="http://schemas.microsoft.com/office/drawing/2014/main" id="{06D30F8C-1497-5218-93D2-9221C0CBF41F}"/>
                </a:ext>
              </a:extLst>
            </p:cNvPr>
            <p:cNvGrpSpPr/>
            <p:nvPr/>
          </p:nvGrpSpPr>
          <p:grpSpPr>
            <a:xfrm>
              <a:off x="8391555" y="2976822"/>
              <a:ext cx="436735" cy="366549"/>
              <a:chOff x="8391555" y="2976822"/>
              <a:chExt cx="436735" cy="366549"/>
            </a:xfrm>
            <a:solidFill>
              <a:srgbClr val="A0D755"/>
            </a:solidFill>
          </p:grpSpPr>
          <p:sp>
            <p:nvSpPr>
              <p:cNvPr id="1096" name="Forme libre : forme 181">
                <a:extLst>
                  <a:ext uri="{FF2B5EF4-FFF2-40B4-BE49-F238E27FC236}">
                    <a16:creationId xmlns:a16="http://schemas.microsoft.com/office/drawing/2014/main" id="{798B4419-E4CC-F842-0632-F0B0CCAFA828}"/>
                  </a:ext>
                </a:extLst>
              </p:cNvPr>
              <p:cNvSpPr/>
              <p:nvPr/>
            </p:nvSpPr>
            <p:spPr>
              <a:xfrm>
                <a:off x="8615397" y="2977315"/>
                <a:ext cx="212893" cy="168035"/>
              </a:xfrm>
              <a:custGeom>
                <a:avLst/>
                <a:gdLst>
                  <a:gd name="connsiteX0" fmla="*/ 115479 w 212893"/>
                  <a:gd name="connsiteY0" fmla="*/ 158333 h 168035"/>
                  <a:gd name="connsiteX1" fmla="*/ 212893 w 212893"/>
                  <a:gd name="connsiteY1" fmla="*/ 81023 h 168035"/>
                  <a:gd name="connsiteX2" fmla="*/ 183128 w 212893"/>
                  <a:gd name="connsiteY2" fmla="*/ 36379 h 168035"/>
                  <a:gd name="connsiteX3" fmla="*/ 93734 w 212893"/>
                  <a:gd name="connsiteY3" fmla="*/ 97450 h 168035"/>
                  <a:gd name="connsiteX4" fmla="*/ 31611 w 212893"/>
                  <a:gd name="connsiteY4" fmla="*/ 0 h 168035"/>
                  <a:gd name="connsiteX5" fmla="*/ 12761 w 212893"/>
                  <a:gd name="connsiteY5" fmla="*/ 31416 h 168035"/>
                  <a:gd name="connsiteX6" fmla="*/ 0 w 212893"/>
                  <a:gd name="connsiteY6" fmla="*/ 77484 h 168035"/>
                  <a:gd name="connsiteX7" fmla="*/ 0 w 212893"/>
                  <a:gd name="connsiteY7" fmla="*/ 87658 h 168035"/>
                  <a:gd name="connsiteX8" fmla="*/ 53174 w 212893"/>
                  <a:gd name="connsiteY8" fmla="*/ 151833 h 168035"/>
                  <a:gd name="connsiteX9" fmla="*/ 115479 w 212893"/>
                  <a:gd name="connsiteY9" fmla="*/ 158333 h 168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2893" h="168035">
                    <a:moveTo>
                      <a:pt x="115479" y="158333"/>
                    </a:moveTo>
                    <a:lnTo>
                      <a:pt x="212893" y="81023"/>
                    </a:lnTo>
                    <a:lnTo>
                      <a:pt x="183128" y="36379"/>
                    </a:lnTo>
                    <a:lnTo>
                      <a:pt x="93734" y="97450"/>
                    </a:lnTo>
                    <a:lnTo>
                      <a:pt x="31611" y="0"/>
                    </a:lnTo>
                    <a:lnTo>
                      <a:pt x="12761" y="31416"/>
                    </a:lnTo>
                    <a:cubicBezTo>
                      <a:pt x="4410" y="45330"/>
                      <a:pt x="0" y="61256"/>
                      <a:pt x="0" y="77484"/>
                    </a:cubicBezTo>
                    <a:lnTo>
                      <a:pt x="0" y="87658"/>
                    </a:lnTo>
                    <a:lnTo>
                      <a:pt x="53174" y="151833"/>
                    </a:lnTo>
                    <a:cubicBezTo>
                      <a:pt x="68714" y="170585"/>
                      <a:pt x="96400" y="173474"/>
                      <a:pt x="115479" y="158333"/>
                    </a:cubicBezTo>
                    <a:close/>
                  </a:path>
                </a:pathLst>
              </a:custGeom>
              <a:solidFill>
                <a:srgbClr val="682179"/>
              </a:solidFill>
              <a:ln w="27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3200"/>
              </a:p>
            </p:txBody>
          </p:sp>
          <p:sp>
            <p:nvSpPr>
              <p:cNvPr id="1097" name="Forme libre : forme 182">
                <a:extLst>
                  <a:ext uri="{FF2B5EF4-FFF2-40B4-BE49-F238E27FC236}">
                    <a16:creationId xmlns:a16="http://schemas.microsoft.com/office/drawing/2014/main" id="{6A7A1B34-49A1-0979-B4EA-9A806104C65B}"/>
                  </a:ext>
                </a:extLst>
              </p:cNvPr>
              <p:cNvSpPr/>
              <p:nvPr/>
            </p:nvSpPr>
            <p:spPr>
              <a:xfrm>
                <a:off x="8391555" y="2976822"/>
                <a:ext cx="67152" cy="366549"/>
              </a:xfrm>
              <a:custGeom>
                <a:avLst/>
                <a:gdLst>
                  <a:gd name="connsiteX0" fmla="*/ 47484 w 67152"/>
                  <a:gd name="connsiteY0" fmla="*/ 33503 h 366549"/>
                  <a:gd name="connsiteX1" fmla="*/ 13981 w 67152"/>
                  <a:gd name="connsiteY1" fmla="*/ 0 h 366549"/>
                  <a:gd name="connsiteX2" fmla="*/ 0 w 67152"/>
                  <a:gd name="connsiteY2" fmla="*/ 32088 h 366549"/>
                  <a:gd name="connsiteX3" fmla="*/ 0 w 67152"/>
                  <a:gd name="connsiteY3" fmla="*/ 344166 h 366549"/>
                  <a:gd name="connsiteX4" fmla="*/ 22384 w 67152"/>
                  <a:gd name="connsiteY4" fmla="*/ 366550 h 366549"/>
                  <a:gd name="connsiteX5" fmla="*/ 67152 w 67152"/>
                  <a:gd name="connsiteY5" fmla="*/ 366550 h 366549"/>
                  <a:gd name="connsiteX6" fmla="*/ 67152 w 67152"/>
                  <a:gd name="connsiteY6" fmla="*/ 80985 h 366549"/>
                  <a:gd name="connsiteX7" fmla="*/ 47484 w 67152"/>
                  <a:gd name="connsiteY7" fmla="*/ 33503 h 366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152" h="366549">
                    <a:moveTo>
                      <a:pt x="47484" y="33503"/>
                    </a:moveTo>
                    <a:lnTo>
                      <a:pt x="13981" y="0"/>
                    </a:lnTo>
                    <a:cubicBezTo>
                      <a:pt x="5354" y="8293"/>
                      <a:pt x="0" y="19682"/>
                      <a:pt x="0" y="32088"/>
                    </a:cubicBezTo>
                    <a:lnTo>
                      <a:pt x="0" y="344166"/>
                    </a:lnTo>
                    <a:cubicBezTo>
                      <a:pt x="0" y="356527"/>
                      <a:pt x="10023" y="366550"/>
                      <a:pt x="22384" y="366550"/>
                    </a:cubicBezTo>
                    <a:lnTo>
                      <a:pt x="67152" y="366550"/>
                    </a:lnTo>
                    <a:lnTo>
                      <a:pt x="67152" y="80985"/>
                    </a:lnTo>
                    <a:cubicBezTo>
                      <a:pt x="67152" y="63175"/>
                      <a:pt x="60079" y="46096"/>
                      <a:pt x="47484" y="33503"/>
                    </a:cubicBezTo>
                    <a:close/>
                  </a:path>
                </a:pathLst>
              </a:custGeom>
              <a:solidFill>
                <a:srgbClr val="682179"/>
              </a:solidFill>
              <a:ln w="27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 sz="3200"/>
              </a:p>
            </p:txBody>
          </p:sp>
        </p:grpSp>
        <p:sp>
          <p:nvSpPr>
            <p:cNvPr id="1095" name="Forme libre : forme 180">
              <a:extLst>
                <a:ext uri="{FF2B5EF4-FFF2-40B4-BE49-F238E27FC236}">
                  <a16:creationId xmlns:a16="http://schemas.microsoft.com/office/drawing/2014/main" id="{72F1562A-5984-A74A-04CC-5827DEFFABF8}"/>
                </a:ext>
              </a:extLst>
            </p:cNvPr>
            <p:cNvSpPr/>
            <p:nvPr/>
          </p:nvSpPr>
          <p:spPr>
            <a:xfrm>
              <a:off x="8413939" y="3343369"/>
              <a:ext cx="44768" cy="44768"/>
            </a:xfrm>
            <a:custGeom>
              <a:avLst/>
              <a:gdLst>
                <a:gd name="connsiteX0" fmla="*/ 35814 w 44768"/>
                <a:gd name="connsiteY0" fmla="*/ 44768 h 44768"/>
                <a:gd name="connsiteX1" fmla="*/ 22384 w 44768"/>
                <a:gd name="connsiteY1" fmla="*/ 44768 h 44768"/>
                <a:gd name="connsiteX2" fmla="*/ 0 w 44768"/>
                <a:gd name="connsiteY2" fmla="*/ 22384 h 44768"/>
                <a:gd name="connsiteX3" fmla="*/ 0 w 44768"/>
                <a:gd name="connsiteY3" fmla="*/ 0 h 44768"/>
                <a:gd name="connsiteX4" fmla="*/ 44768 w 44768"/>
                <a:gd name="connsiteY4" fmla="*/ 0 h 44768"/>
                <a:gd name="connsiteX5" fmla="*/ 44768 w 44768"/>
                <a:gd name="connsiteY5" fmla="*/ 35814 h 44768"/>
                <a:gd name="connsiteX6" fmla="*/ 35814 w 44768"/>
                <a:gd name="connsiteY6" fmla="*/ 44768 h 4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68" h="44768">
                  <a:moveTo>
                    <a:pt x="35814" y="44768"/>
                  </a:moveTo>
                  <a:lnTo>
                    <a:pt x="22384" y="44768"/>
                  </a:lnTo>
                  <a:cubicBezTo>
                    <a:pt x="10023" y="44768"/>
                    <a:pt x="0" y="34745"/>
                    <a:pt x="0" y="22384"/>
                  </a:cubicBezTo>
                  <a:lnTo>
                    <a:pt x="0" y="0"/>
                  </a:lnTo>
                  <a:lnTo>
                    <a:pt x="44768" y="0"/>
                  </a:lnTo>
                  <a:lnTo>
                    <a:pt x="44768" y="35814"/>
                  </a:lnTo>
                  <a:cubicBezTo>
                    <a:pt x="44768" y="40761"/>
                    <a:pt x="40761" y="44768"/>
                    <a:pt x="35814" y="44768"/>
                  </a:cubicBezTo>
                  <a:close/>
                </a:path>
              </a:pathLst>
            </a:custGeom>
            <a:solidFill>
              <a:srgbClr val="E6AF78"/>
            </a:solidFill>
            <a:ln w="27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8">
                <a:defRPr/>
              </a:pPr>
              <a:endParaRPr lang="fr-FR" sz="3200"/>
            </a:p>
          </p:txBody>
        </p:sp>
      </p:grpSp>
      <p:pic>
        <p:nvPicPr>
          <p:cNvPr id="1100" name="Picture 4" descr="C:\Users\A9942619\Pictures\Apollo\siren.png">
            <a:extLst>
              <a:ext uri="{FF2B5EF4-FFF2-40B4-BE49-F238E27FC236}">
                <a16:creationId xmlns:a16="http://schemas.microsoft.com/office/drawing/2014/main" id="{CF96B6E1-BA1D-7E49-82BA-F80BCEEAE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11" y="4458369"/>
            <a:ext cx="149197" cy="14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1281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1605C-0CB4-BD49-5F16-9DB175DF5D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18A3204D-F5C7-C22F-DAB9-CA41009D1A6F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5932619" y="2126365"/>
            <a:ext cx="1745" cy="878639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0118218D-B8CA-199F-D03F-34579530E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17" y="194400"/>
            <a:ext cx="8968430" cy="337362"/>
          </a:xfrm>
        </p:spPr>
        <p:txBody>
          <a:bodyPr lIns="91440" tIns="45720" rIns="91440" bIns="45720" anchor="ctr"/>
          <a:lstStyle/>
          <a:p>
            <a:r>
              <a:rPr lang="fr-FR">
                <a:latin typeface="Montserrat ExtraBold"/>
                <a:cs typeface="Arial"/>
              </a:rPr>
              <a:t>A Group Already Activ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05FA6FE-AE54-3DB2-B119-9CBB25B93A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52" y="612001"/>
            <a:ext cx="7704098" cy="288032"/>
          </a:xfrm>
        </p:spPr>
        <p:txBody>
          <a:bodyPr/>
          <a:lstStyle/>
          <a:p>
            <a:r>
              <a:rPr lang="fr-FR"/>
              <a:t>Dynamic Internal and External Engagement</a:t>
            </a:r>
          </a:p>
        </p:txBody>
      </p:sp>
      <p:pic>
        <p:nvPicPr>
          <p:cNvPr id="236" name="Image 235">
            <a:extLst>
              <a:ext uri="{FF2B5EF4-FFF2-40B4-BE49-F238E27FC236}">
                <a16:creationId xmlns:a16="http://schemas.microsoft.com/office/drawing/2014/main" id="{BAAE9A66-F1C7-6CBA-BA08-78CEE25CA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65" y="441177"/>
            <a:ext cx="1131688" cy="512088"/>
          </a:xfrm>
          <a:prstGeom prst="rect">
            <a:avLst/>
          </a:prstGeom>
          <a:noFill/>
        </p:spPr>
      </p:pic>
      <p:pic>
        <p:nvPicPr>
          <p:cNvPr id="237" name="Image 236">
            <a:extLst>
              <a:ext uri="{FF2B5EF4-FFF2-40B4-BE49-F238E27FC236}">
                <a16:creationId xmlns:a16="http://schemas.microsoft.com/office/drawing/2014/main" id="{E2721621-B162-350C-6DD7-47B7355F0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47" y="1117383"/>
            <a:ext cx="927399" cy="232510"/>
          </a:xfrm>
          <a:prstGeom prst="rect">
            <a:avLst/>
          </a:prstGeom>
        </p:spPr>
      </p:pic>
      <p:pic>
        <p:nvPicPr>
          <p:cNvPr id="238" name="Image 237">
            <a:extLst>
              <a:ext uri="{FF2B5EF4-FFF2-40B4-BE49-F238E27FC236}">
                <a16:creationId xmlns:a16="http://schemas.microsoft.com/office/drawing/2014/main" id="{5CD61955-E644-4BA2-D7AD-64A4BFCE7D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549" y="1088169"/>
            <a:ext cx="368098" cy="327197"/>
          </a:xfrm>
          <a:prstGeom prst="rect">
            <a:avLst/>
          </a:prstGeom>
        </p:spPr>
      </p:pic>
      <p:sp>
        <p:nvSpPr>
          <p:cNvPr id="239" name="ZoneTexte 238">
            <a:extLst>
              <a:ext uri="{FF2B5EF4-FFF2-40B4-BE49-F238E27FC236}">
                <a16:creationId xmlns:a16="http://schemas.microsoft.com/office/drawing/2014/main" id="{CBE67D53-CE2C-42D2-F88B-166A2F26991C}"/>
              </a:ext>
            </a:extLst>
          </p:cNvPr>
          <p:cNvSpPr txBox="1"/>
          <p:nvPr/>
        </p:nvSpPr>
        <p:spPr>
          <a:xfrm>
            <a:off x="43243" y="135151"/>
            <a:ext cx="16605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1">
                <a:solidFill>
                  <a:schemeClr val="tx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Internal OS SharePoint</a:t>
            </a:r>
            <a:endParaRPr lang="fr-FR" sz="900" b="1">
              <a:solidFill>
                <a:schemeClr val="tx1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B955B35A-75CF-6A2D-DEF7-406704F8B4FD}"/>
              </a:ext>
            </a:extLst>
          </p:cNvPr>
          <p:cNvSpPr/>
          <p:nvPr/>
        </p:nvSpPr>
        <p:spPr>
          <a:xfrm>
            <a:off x="90655" y="110344"/>
            <a:ext cx="1407362" cy="89307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err="1">
              <a:solidFill>
                <a:schemeClr val="bg1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818CCAA-FF60-4347-55DD-86CA6CFFE9AB}"/>
              </a:ext>
            </a:extLst>
          </p:cNvPr>
          <p:cNvSpPr/>
          <p:nvPr/>
        </p:nvSpPr>
        <p:spPr>
          <a:xfrm>
            <a:off x="90655" y="1067202"/>
            <a:ext cx="1407362" cy="36484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err="1">
              <a:solidFill>
                <a:schemeClr val="bg1"/>
              </a:solidFill>
            </a:endParaRPr>
          </a:p>
        </p:txBody>
      </p:sp>
      <p:sp>
        <p:nvSpPr>
          <p:cNvPr id="242" name="ZoneTexte 241">
            <a:extLst>
              <a:ext uri="{FF2B5EF4-FFF2-40B4-BE49-F238E27FC236}">
                <a16:creationId xmlns:a16="http://schemas.microsoft.com/office/drawing/2014/main" id="{70BB8E46-B715-33FB-A47C-2AD3E9DAD0B4}"/>
              </a:ext>
            </a:extLst>
          </p:cNvPr>
          <p:cNvSpPr txBox="1"/>
          <p:nvPr/>
        </p:nvSpPr>
        <p:spPr>
          <a:xfrm>
            <a:off x="1080506" y="2261081"/>
            <a:ext cx="12246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solidFill>
                  <a:srgbClr val="00206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OSE</a:t>
            </a:r>
          </a:p>
          <a:p>
            <a:pPr algn="ctr"/>
            <a:r>
              <a:rPr lang="fr-FR" sz="800" b="1">
                <a:solidFill>
                  <a:srgbClr val="00206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Presentation of the Strategic Study</a:t>
            </a:r>
            <a:endParaRPr lang="fr-FR" sz="800"/>
          </a:p>
        </p:txBody>
      </p:sp>
      <p:sp>
        <p:nvSpPr>
          <p:cNvPr id="243" name="ZoneTexte 242">
            <a:extLst>
              <a:ext uri="{FF2B5EF4-FFF2-40B4-BE49-F238E27FC236}">
                <a16:creationId xmlns:a16="http://schemas.microsoft.com/office/drawing/2014/main" id="{78285451-64BA-ADF6-5964-89A5E439A78D}"/>
              </a:ext>
            </a:extLst>
          </p:cNvPr>
          <p:cNvSpPr txBox="1"/>
          <p:nvPr/>
        </p:nvSpPr>
        <p:spPr>
          <a:xfrm>
            <a:off x="864578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June 2025</a:t>
            </a:r>
            <a:endParaRPr lang="fr-FR" sz="600">
              <a:solidFill>
                <a:schemeClr val="accent1"/>
              </a:solidFill>
            </a:endParaRPr>
          </a:p>
        </p:txBody>
      </p:sp>
      <p:cxnSp>
        <p:nvCxnSpPr>
          <p:cNvPr id="247" name="Connecteur droit 246">
            <a:extLst>
              <a:ext uri="{FF2B5EF4-FFF2-40B4-BE49-F238E27FC236}">
                <a16:creationId xmlns:a16="http://schemas.microsoft.com/office/drawing/2014/main" id="{A335F794-9421-8692-87BF-5AA449530451}"/>
              </a:ext>
            </a:extLst>
          </p:cNvPr>
          <p:cNvCxnSpPr>
            <a:cxnSpLocks/>
            <a:stCxn id="242" idx="2"/>
          </p:cNvCxnSpPr>
          <p:nvPr/>
        </p:nvCxnSpPr>
        <p:spPr>
          <a:xfrm>
            <a:off x="1692812" y="2722746"/>
            <a:ext cx="0" cy="312096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ZoneTexte 253">
            <a:extLst>
              <a:ext uri="{FF2B5EF4-FFF2-40B4-BE49-F238E27FC236}">
                <a16:creationId xmlns:a16="http://schemas.microsoft.com/office/drawing/2014/main" id="{03C01FEF-54E5-4634-6972-065E623D8BDA}"/>
              </a:ext>
            </a:extLst>
          </p:cNvPr>
          <p:cNvSpPr txBox="1"/>
          <p:nvPr/>
        </p:nvSpPr>
        <p:spPr>
          <a:xfrm>
            <a:off x="2133801" y="2003503"/>
            <a:ext cx="122790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solidFill>
                  <a:srgbClr val="00206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OSE</a:t>
            </a:r>
          </a:p>
          <a:p>
            <a:pPr algn="ctr"/>
            <a:r>
              <a:rPr lang="fr-FR" sz="800" b="1">
                <a:solidFill>
                  <a:srgbClr val="00206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Support on Our Governance and Monitoring Challenges</a:t>
            </a:r>
            <a:endParaRPr lang="fr-FR" sz="800">
              <a:latin typeface="Montserrat" panose="00000500000000000000" pitchFamily="2" charset="0"/>
              <a:sym typeface="Wingdings" panose="05000000000000000000" pitchFamily="2" charset="2"/>
            </a:endParaRPr>
          </a:p>
        </p:txBody>
      </p:sp>
      <p:cxnSp>
        <p:nvCxnSpPr>
          <p:cNvPr id="260" name="Connecteur droit 259">
            <a:extLst>
              <a:ext uri="{FF2B5EF4-FFF2-40B4-BE49-F238E27FC236}">
                <a16:creationId xmlns:a16="http://schemas.microsoft.com/office/drawing/2014/main" id="{F48BC6FE-D076-A14D-336D-6F9F7190DF8E}"/>
              </a:ext>
            </a:extLst>
          </p:cNvPr>
          <p:cNvCxnSpPr>
            <a:cxnSpLocks/>
            <a:stCxn id="254" idx="2"/>
          </p:cNvCxnSpPr>
          <p:nvPr/>
        </p:nvCxnSpPr>
        <p:spPr>
          <a:xfrm flipH="1">
            <a:off x="2747754" y="2711389"/>
            <a:ext cx="1" cy="323453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ZoneTexte 262">
            <a:extLst>
              <a:ext uri="{FF2B5EF4-FFF2-40B4-BE49-F238E27FC236}">
                <a16:creationId xmlns:a16="http://schemas.microsoft.com/office/drawing/2014/main" id="{4F2F5316-7EE7-441C-F08F-981DC029E270}"/>
              </a:ext>
            </a:extLst>
          </p:cNvPr>
          <p:cNvSpPr txBox="1"/>
          <p:nvPr/>
        </p:nvSpPr>
        <p:spPr>
          <a:xfrm>
            <a:off x="2098238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Dec.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264" name="ZoneTexte 263">
            <a:extLst>
              <a:ext uri="{FF2B5EF4-FFF2-40B4-BE49-F238E27FC236}">
                <a16:creationId xmlns:a16="http://schemas.microsoft.com/office/drawing/2014/main" id="{4ED1F57F-44CC-6E48-6494-E03F6458E642}"/>
              </a:ext>
            </a:extLst>
          </p:cNvPr>
          <p:cNvSpPr txBox="1"/>
          <p:nvPr/>
        </p:nvSpPr>
        <p:spPr>
          <a:xfrm>
            <a:off x="1496910" y="3312856"/>
            <a:ext cx="14765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latin typeface="Montserrat" panose="00000500000000000000" pitchFamily="2" charset="0"/>
                <a:sym typeface="Wingdings" panose="05000000000000000000" pitchFamily="2" charset="2"/>
              </a:rPr>
              <a:t>Community Working Groups</a:t>
            </a:r>
          </a:p>
          <a:p>
            <a:pPr algn="ctr"/>
            <a:r>
              <a:rPr lang="fr-FR" sz="800" b="1">
                <a:latin typeface="Montserrat" panose="00000500000000000000" pitchFamily="2" charset="0"/>
                <a:sym typeface="Wingdings" panose="05000000000000000000" pitchFamily="2" charset="2"/>
              </a:rPr>
              <a:t>via TOSIT</a:t>
            </a:r>
            <a:endParaRPr lang="fr-FR" sz="800" b="1">
              <a:solidFill>
                <a:srgbClr val="00B050"/>
              </a:solidFill>
            </a:endParaRPr>
          </a:p>
        </p:txBody>
      </p:sp>
      <p:cxnSp>
        <p:nvCxnSpPr>
          <p:cNvPr id="265" name="Connecteur droit 264">
            <a:extLst>
              <a:ext uri="{FF2B5EF4-FFF2-40B4-BE49-F238E27FC236}">
                <a16:creationId xmlns:a16="http://schemas.microsoft.com/office/drawing/2014/main" id="{7E99C782-4AF6-4FDB-B14B-011D568035AB}"/>
              </a:ext>
            </a:extLst>
          </p:cNvPr>
          <p:cNvCxnSpPr>
            <a:cxnSpLocks/>
            <a:endCxn id="264" idx="0"/>
          </p:cNvCxnSpPr>
          <p:nvPr/>
        </p:nvCxnSpPr>
        <p:spPr>
          <a:xfrm flipH="1">
            <a:off x="2235204" y="3021623"/>
            <a:ext cx="1974" cy="291233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ZoneTexte 268">
            <a:extLst>
              <a:ext uri="{FF2B5EF4-FFF2-40B4-BE49-F238E27FC236}">
                <a16:creationId xmlns:a16="http://schemas.microsoft.com/office/drawing/2014/main" id="{B0E9D86C-EB96-0B12-97B6-E5B2FD4714AC}"/>
              </a:ext>
            </a:extLst>
          </p:cNvPr>
          <p:cNvSpPr txBox="1"/>
          <p:nvPr/>
        </p:nvSpPr>
        <p:spPr>
          <a:xfrm>
            <a:off x="3177300" y="1829928"/>
            <a:ext cx="14943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Launch of the </a:t>
            </a:r>
            <a:r>
              <a:rPr lang="fr-FR" sz="800" b="1" dirty="0">
                <a:solidFill>
                  <a:schemeClr val="accent4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Groupe BPCE</a:t>
            </a:r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 Collective</a:t>
            </a:r>
            <a:endParaRPr lang="fr-FR" sz="800" b="1" dirty="0">
              <a:solidFill>
                <a:schemeClr val="accent4"/>
              </a:solidFill>
              <a:latin typeface="Montserrat" panose="00000500000000000000" pitchFamily="2" charset="0"/>
              <a:sym typeface="Wingdings" panose="05000000000000000000" pitchFamily="2" charset="2"/>
            </a:endParaRPr>
          </a:p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70+ Connected Employees</a:t>
            </a:r>
            <a:endParaRPr lang="fr-FR" sz="800" b="1" dirty="0">
              <a:solidFill>
                <a:schemeClr val="accent4"/>
              </a:solidFill>
              <a:latin typeface="Montserrat" panose="00000500000000000000" pitchFamily="2" charset="0"/>
              <a:sym typeface="Wingdings" panose="05000000000000000000" pitchFamily="2" charset="2"/>
            </a:endParaRPr>
          </a:p>
        </p:txBody>
      </p:sp>
      <p:sp>
        <p:nvSpPr>
          <p:cNvPr id="273" name="ZoneTexte 272">
            <a:extLst>
              <a:ext uri="{FF2B5EF4-FFF2-40B4-BE49-F238E27FC236}">
                <a16:creationId xmlns:a16="http://schemas.microsoft.com/office/drawing/2014/main" id="{452DB73C-807A-D7B7-261D-5ABECFD2E013}"/>
              </a:ext>
            </a:extLst>
          </p:cNvPr>
          <p:cNvSpPr txBox="1"/>
          <p:nvPr/>
        </p:nvSpPr>
        <p:spPr>
          <a:xfrm>
            <a:off x="2725168" y="1139978"/>
            <a:ext cx="25752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600" b="1">
                <a:latin typeface="Montserrat" panose="00000500000000000000" pitchFamily="2" charset="0"/>
                <a:sym typeface="Wingdings" panose="05000000000000000000" pitchFamily="2" charset="2"/>
              </a:rPr>
              <a:t>Monthly meetings to share TOSIT topics, ongoing work, and the economic models</a:t>
            </a:r>
          </a:p>
          <a:p>
            <a:r>
              <a:rPr lang="fr-FR" sz="600" b="1">
                <a:latin typeface="Montserrat" panose="00000500000000000000" pitchFamily="2" charset="0"/>
                <a:sym typeface="Wingdings" panose="05000000000000000000" pitchFamily="2" charset="2"/>
              </a:rPr>
              <a:t>Awareness sessions: morning session on IRN and openness in March</a:t>
            </a:r>
            <a:endParaRPr lang="fr-FR" sz="600" i="1"/>
          </a:p>
        </p:txBody>
      </p:sp>
      <p:sp>
        <p:nvSpPr>
          <p:cNvPr id="274" name="Arc 273">
            <a:extLst>
              <a:ext uri="{FF2B5EF4-FFF2-40B4-BE49-F238E27FC236}">
                <a16:creationId xmlns:a16="http://schemas.microsoft.com/office/drawing/2014/main" id="{DA4750E6-C89D-D840-41B1-B58F72216C5E}"/>
              </a:ext>
            </a:extLst>
          </p:cNvPr>
          <p:cNvSpPr/>
          <p:nvPr/>
        </p:nvSpPr>
        <p:spPr>
          <a:xfrm rot="20834114" flipH="1" flipV="1">
            <a:off x="3136254" y="1598016"/>
            <a:ext cx="450908" cy="347139"/>
          </a:xfrm>
          <a:prstGeom prst="arc">
            <a:avLst>
              <a:gd name="adj1" fmla="val 19011432"/>
              <a:gd name="adj2" fmla="val 6139064"/>
            </a:avLst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just" defTabSz="342900">
              <a:defRPr/>
            </a:pPr>
            <a:endParaRPr lang="fr-FR" sz="13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FF42AB31-E20F-4A24-C32C-D11F46B8ED69}"/>
              </a:ext>
            </a:extLst>
          </p:cNvPr>
          <p:cNvCxnSpPr>
            <a:cxnSpLocks/>
          </p:cNvCxnSpPr>
          <p:nvPr/>
        </p:nvCxnSpPr>
        <p:spPr>
          <a:xfrm>
            <a:off x="3793244" y="2309707"/>
            <a:ext cx="0" cy="718951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oneTexte 68">
            <a:extLst>
              <a:ext uri="{FF2B5EF4-FFF2-40B4-BE49-F238E27FC236}">
                <a16:creationId xmlns:a16="http://schemas.microsoft.com/office/drawing/2014/main" id="{A87C3F00-2A51-8B74-9E65-9180E9D885B9}"/>
              </a:ext>
            </a:extLst>
          </p:cNvPr>
          <p:cNvSpPr txBox="1"/>
          <p:nvPr/>
        </p:nvSpPr>
        <p:spPr>
          <a:xfrm>
            <a:off x="2938923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Jan. 2026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934AB61D-26A9-3653-749D-138054F54619}"/>
              </a:ext>
            </a:extLst>
          </p:cNvPr>
          <p:cNvSpPr txBox="1"/>
          <p:nvPr/>
        </p:nvSpPr>
        <p:spPr>
          <a:xfrm>
            <a:off x="3263717" y="3298597"/>
            <a:ext cx="15925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rgbClr val="00B05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TOSIT Data &amp; AI Day, 4th Edition at BPCE</a:t>
            </a:r>
          </a:p>
          <a:p>
            <a:pPr algn="ctr"/>
            <a:r>
              <a:rPr lang="en-US" sz="800" b="1">
                <a:solidFill>
                  <a:srgbClr val="00B05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100+ People On Site</a:t>
            </a:r>
            <a:endParaRPr lang="fr-FR" sz="600">
              <a:latin typeface="Montserrat" panose="00000500000000000000" pitchFamily="2" charset="0"/>
            </a:endParaRPr>
          </a:p>
        </p:txBody>
      </p:sp>
      <p:cxnSp>
        <p:nvCxnSpPr>
          <p:cNvPr id="80" name="Connecteur droit 79">
            <a:extLst>
              <a:ext uri="{FF2B5EF4-FFF2-40B4-BE49-F238E27FC236}">
                <a16:creationId xmlns:a16="http://schemas.microsoft.com/office/drawing/2014/main" id="{A5387DC2-84C3-DDA6-CEAF-C426F7D88FED}"/>
              </a:ext>
            </a:extLst>
          </p:cNvPr>
          <p:cNvCxnSpPr>
            <a:cxnSpLocks/>
          </p:cNvCxnSpPr>
          <p:nvPr/>
        </p:nvCxnSpPr>
        <p:spPr>
          <a:xfrm>
            <a:off x="4083465" y="3017275"/>
            <a:ext cx="1" cy="276974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>
            <a:extLst>
              <a:ext uri="{FF2B5EF4-FFF2-40B4-BE49-F238E27FC236}">
                <a16:creationId xmlns:a16="http://schemas.microsoft.com/office/drawing/2014/main" id="{C60807F9-ECD0-D3B6-74C8-A2F960956785}"/>
              </a:ext>
            </a:extLst>
          </p:cNvPr>
          <p:cNvCxnSpPr>
            <a:cxnSpLocks/>
          </p:cNvCxnSpPr>
          <p:nvPr/>
        </p:nvCxnSpPr>
        <p:spPr>
          <a:xfrm flipH="1">
            <a:off x="4862945" y="3016403"/>
            <a:ext cx="12638" cy="93569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ZoneTexte 85">
            <a:extLst>
              <a:ext uri="{FF2B5EF4-FFF2-40B4-BE49-F238E27FC236}">
                <a16:creationId xmlns:a16="http://schemas.microsoft.com/office/drawing/2014/main" id="{2D2945D6-64ED-6E72-04C9-61654DB6EB1E}"/>
              </a:ext>
            </a:extLst>
          </p:cNvPr>
          <p:cNvSpPr txBox="1"/>
          <p:nvPr/>
        </p:nvSpPr>
        <p:spPr>
          <a:xfrm>
            <a:off x="5010553" y="3347350"/>
            <a:ext cx="12820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800">
                <a:latin typeface="Montserrat" panose="00000500000000000000" pitchFamily="2" charset="0"/>
                <a:sym typeface="Wingdings" panose="05000000000000000000" pitchFamily="2" charset="2"/>
              </a:rPr>
              <a:t>Membership in the European OW2 Foundation</a:t>
            </a:r>
            <a:endParaRPr lang="fr-FR" sz="800" b="1">
              <a:solidFill>
                <a:srgbClr val="FF6600"/>
              </a:solidFill>
              <a:latin typeface="Montserrat" panose="00000500000000000000" pitchFamily="2" charset="0"/>
              <a:sym typeface="Wingdings" panose="05000000000000000000" pitchFamily="2" charset="2"/>
            </a:endParaRP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0124D111-ED39-FD15-A6B4-563268F8D8CA}"/>
              </a:ext>
            </a:extLst>
          </p:cNvPr>
          <p:cNvSpPr txBox="1"/>
          <p:nvPr/>
        </p:nvSpPr>
        <p:spPr>
          <a:xfrm>
            <a:off x="3699856" y="3975979"/>
            <a:ext cx="15080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  <a:sym typeface="Wingdings" panose="05000000000000000000" pitchFamily="2" charset="2"/>
              </a:rPr>
              <a:t>Discussions on Technical Support and Digital Sovereignty with Atos</a:t>
            </a:r>
            <a:endParaRPr lang="fr-FR" sz="800">
              <a:solidFill>
                <a:srgbClr val="00B0F0"/>
              </a:solidFill>
              <a:highlight>
                <a:srgbClr val="FFFF00"/>
              </a:highlight>
              <a:latin typeface="Montserrat" panose="00000500000000000000" pitchFamily="2" charset="0"/>
              <a:sym typeface="Wingdings" panose="05000000000000000000" pitchFamily="2" charset="2"/>
            </a:endParaRPr>
          </a:p>
        </p:txBody>
      </p:sp>
      <p:sp>
        <p:nvSpPr>
          <p:cNvPr id="88" name="ZoneTexte 87">
            <a:extLst>
              <a:ext uri="{FF2B5EF4-FFF2-40B4-BE49-F238E27FC236}">
                <a16:creationId xmlns:a16="http://schemas.microsoft.com/office/drawing/2014/main" id="{E2FAFBA9-C7AE-EEAD-65EA-EC6C4DBD4894}"/>
              </a:ext>
            </a:extLst>
          </p:cNvPr>
          <p:cNvSpPr txBox="1"/>
          <p:nvPr/>
        </p:nvSpPr>
        <p:spPr>
          <a:xfrm>
            <a:off x="5638199" y="4018199"/>
            <a:ext cx="1077097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600" b="1">
                <a:latin typeface="Montserrat" panose="00000500000000000000" pitchFamily="2" charset="0"/>
              </a:rPr>
              <a:t>Communication</a:t>
            </a:r>
            <a:endParaRPr lang="fr-FR" sz="600">
              <a:latin typeface="Montserrat" panose="00000500000000000000" pitchFamily="2" charset="0"/>
            </a:endParaRPr>
          </a:p>
        </p:txBody>
      </p:sp>
      <p:grpSp>
        <p:nvGrpSpPr>
          <p:cNvPr id="90" name="Graphique 16">
            <a:extLst>
              <a:ext uri="{FF2B5EF4-FFF2-40B4-BE49-F238E27FC236}">
                <a16:creationId xmlns:a16="http://schemas.microsoft.com/office/drawing/2014/main" id="{C4C98287-9D31-404A-2A6A-79A642FCD0A3}"/>
              </a:ext>
            </a:extLst>
          </p:cNvPr>
          <p:cNvGrpSpPr/>
          <p:nvPr/>
        </p:nvGrpSpPr>
        <p:grpSpPr>
          <a:xfrm>
            <a:off x="5533667" y="3941012"/>
            <a:ext cx="205968" cy="198000"/>
            <a:chOff x="2374328" y="2582767"/>
            <a:chExt cx="655237" cy="655236"/>
          </a:xfrm>
        </p:grpSpPr>
        <p:grpSp>
          <p:nvGrpSpPr>
            <p:cNvPr id="91" name="Graphique 16">
              <a:extLst>
                <a:ext uri="{FF2B5EF4-FFF2-40B4-BE49-F238E27FC236}">
                  <a16:creationId xmlns:a16="http://schemas.microsoft.com/office/drawing/2014/main" id="{70A93A19-2E22-6F73-0ED4-7AFD74132142}"/>
                </a:ext>
              </a:extLst>
            </p:cNvPr>
            <p:cNvGrpSpPr/>
            <p:nvPr/>
          </p:nvGrpSpPr>
          <p:grpSpPr>
            <a:xfrm>
              <a:off x="2374328" y="2582767"/>
              <a:ext cx="655237" cy="655236"/>
              <a:chOff x="2374328" y="2582767"/>
              <a:chExt cx="655237" cy="655236"/>
            </a:xfrm>
          </p:grpSpPr>
          <p:sp>
            <p:nvSpPr>
              <p:cNvPr id="347" name="Forme libre : forme 346">
                <a:extLst>
                  <a:ext uri="{FF2B5EF4-FFF2-40B4-BE49-F238E27FC236}">
                    <a16:creationId xmlns:a16="http://schemas.microsoft.com/office/drawing/2014/main" id="{63E0FD52-67D2-82F1-5EA1-34F444C2ED2A}"/>
                  </a:ext>
                </a:extLst>
              </p:cNvPr>
              <p:cNvSpPr/>
              <p:nvPr/>
            </p:nvSpPr>
            <p:spPr>
              <a:xfrm>
                <a:off x="2374328" y="3154814"/>
                <a:ext cx="83189" cy="83190"/>
              </a:xfrm>
              <a:custGeom>
                <a:avLst/>
                <a:gdLst>
                  <a:gd name="connsiteX0" fmla="*/ 46560 w 83189"/>
                  <a:gd name="connsiteY0" fmla="*/ 0 h 83190"/>
                  <a:gd name="connsiteX1" fmla="*/ 1440 w 83189"/>
                  <a:gd name="connsiteY1" fmla="*/ 50435 h 83190"/>
                  <a:gd name="connsiteX2" fmla="*/ 1656 w 83189"/>
                  <a:gd name="connsiteY2" fmla="*/ 58201 h 83190"/>
                  <a:gd name="connsiteX3" fmla="*/ 24990 w 83189"/>
                  <a:gd name="connsiteY3" fmla="*/ 81535 h 83190"/>
                  <a:gd name="connsiteX4" fmla="*/ 32756 w 83189"/>
                  <a:gd name="connsiteY4" fmla="*/ 81751 h 83190"/>
                  <a:gd name="connsiteX5" fmla="*/ 83190 w 83189"/>
                  <a:gd name="connsiteY5" fmla="*/ 36631 h 83190"/>
                  <a:gd name="connsiteX6" fmla="*/ 69412 w 83189"/>
                  <a:gd name="connsiteY6" fmla="*/ 18727 h 83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3189" h="83190">
                    <a:moveTo>
                      <a:pt x="46560" y="0"/>
                    </a:moveTo>
                    <a:lnTo>
                      <a:pt x="1440" y="50435"/>
                    </a:lnTo>
                    <a:cubicBezTo>
                      <a:pt x="-560" y="52671"/>
                      <a:pt x="-466" y="56079"/>
                      <a:pt x="1656" y="58201"/>
                    </a:cubicBezTo>
                    <a:lnTo>
                      <a:pt x="24990" y="81535"/>
                    </a:lnTo>
                    <a:cubicBezTo>
                      <a:pt x="27111" y="83655"/>
                      <a:pt x="30520" y="83750"/>
                      <a:pt x="32756" y="81751"/>
                    </a:cubicBezTo>
                    <a:lnTo>
                      <a:pt x="83190" y="36631"/>
                    </a:lnTo>
                    <a:lnTo>
                      <a:pt x="69412" y="18727"/>
                    </a:lnTo>
                    <a:close/>
                  </a:path>
                </a:pathLst>
              </a:custGeom>
              <a:solidFill>
                <a:srgbClr val="889DAA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0" name="Forme libre : forme 159">
                <a:extLst>
                  <a:ext uri="{FF2B5EF4-FFF2-40B4-BE49-F238E27FC236}">
                    <a16:creationId xmlns:a16="http://schemas.microsoft.com/office/drawing/2014/main" id="{FDE22B69-C8FE-2E20-1FEA-F895E34B285C}"/>
                  </a:ext>
                </a:extLst>
              </p:cNvPr>
              <p:cNvSpPr/>
              <p:nvPr/>
            </p:nvSpPr>
            <p:spPr>
              <a:xfrm>
                <a:off x="2413330" y="2838825"/>
                <a:ext cx="360230" cy="360178"/>
              </a:xfrm>
              <a:custGeom>
                <a:avLst/>
                <a:gdLst>
                  <a:gd name="connsiteX0" fmla="*/ 69921 w 360230"/>
                  <a:gd name="connsiteY0" fmla="*/ 355784 h 360178"/>
                  <a:gd name="connsiteX1" fmla="*/ 360231 w 360230"/>
                  <a:gd name="connsiteY1" fmla="*/ 90752 h 360178"/>
                  <a:gd name="connsiteX2" fmla="*/ 332936 w 360230"/>
                  <a:gd name="connsiteY2" fmla="*/ 32502 h 360178"/>
                  <a:gd name="connsiteX3" fmla="*/ 269478 w 360230"/>
                  <a:gd name="connsiteY3" fmla="*/ 0 h 360178"/>
                  <a:gd name="connsiteX4" fmla="*/ 4394 w 360230"/>
                  <a:gd name="connsiteY4" fmla="*/ 290258 h 360178"/>
                  <a:gd name="connsiteX5" fmla="*/ 4878 w 360230"/>
                  <a:gd name="connsiteY5" fmla="*/ 313307 h 360178"/>
                  <a:gd name="connsiteX6" fmla="*/ 46870 w 360230"/>
                  <a:gd name="connsiteY6" fmla="*/ 355299 h 360178"/>
                  <a:gd name="connsiteX7" fmla="*/ 69921 w 360230"/>
                  <a:gd name="connsiteY7" fmla="*/ 355784 h 360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0230" h="360178">
                    <a:moveTo>
                      <a:pt x="69921" y="355784"/>
                    </a:moveTo>
                    <a:lnTo>
                      <a:pt x="360231" y="90752"/>
                    </a:lnTo>
                    <a:lnTo>
                      <a:pt x="332936" y="32502"/>
                    </a:lnTo>
                    <a:lnTo>
                      <a:pt x="269478" y="0"/>
                    </a:lnTo>
                    <a:lnTo>
                      <a:pt x="4394" y="290258"/>
                    </a:lnTo>
                    <a:cubicBezTo>
                      <a:pt x="-1647" y="296829"/>
                      <a:pt x="-1434" y="306996"/>
                      <a:pt x="4878" y="313307"/>
                    </a:cubicBezTo>
                    <a:lnTo>
                      <a:pt x="46870" y="355299"/>
                    </a:lnTo>
                    <a:cubicBezTo>
                      <a:pt x="53183" y="361612"/>
                      <a:pt x="63349" y="361826"/>
                      <a:pt x="69921" y="355784"/>
                    </a:cubicBezTo>
                    <a:close/>
                  </a:path>
                </a:pathLst>
              </a:custGeom>
              <a:solidFill>
                <a:srgbClr val="4F6C77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1" name="Forme libre : forme 160">
                <a:extLst>
                  <a:ext uri="{FF2B5EF4-FFF2-40B4-BE49-F238E27FC236}">
                    <a16:creationId xmlns:a16="http://schemas.microsoft.com/office/drawing/2014/main" id="{491CD9BD-C986-4FA7-9BEC-5C60EB42B048}"/>
                  </a:ext>
                </a:extLst>
              </p:cNvPr>
              <p:cNvSpPr/>
              <p:nvPr/>
            </p:nvSpPr>
            <p:spPr>
              <a:xfrm>
                <a:off x="2441677" y="2910386"/>
                <a:ext cx="331883" cy="288615"/>
              </a:xfrm>
              <a:custGeom>
                <a:avLst/>
                <a:gdLst>
                  <a:gd name="connsiteX0" fmla="*/ 331883 w 331883"/>
                  <a:gd name="connsiteY0" fmla="*/ 19190 h 288615"/>
                  <a:gd name="connsiteX1" fmla="*/ 41571 w 331883"/>
                  <a:gd name="connsiteY1" fmla="*/ 284216 h 288615"/>
                  <a:gd name="connsiteX2" fmla="*/ 18528 w 331883"/>
                  <a:gd name="connsiteY2" fmla="*/ 283740 h 288615"/>
                  <a:gd name="connsiteX3" fmla="*/ 0 w 331883"/>
                  <a:gd name="connsiteY3" fmla="*/ 265211 h 288615"/>
                  <a:gd name="connsiteX4" fmla="*/ 23051 w 331883"/>
                  <a:gd name="connsiteY4" fmla="*/ 265696 h 288615"/>
                  <a:gd name="connsiteX5" fmla="*/ 313905 w 331883"/>
                  <a:gd name="connsiteY5" fmla="*/ 0 h 288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1883" h="288615">
                    <a:moveTo>
                      <a:pt x="331883" y="19190"/>
                    </a:moveTo>
                    <a:lnTo>
                      <a:pt x="41571" y="284216"/>
                    </a:lnTo>
                    <a:cubicBezTo>
                      <a:pt x="34996" y="290268"/>
                      <a:pt x="24832" y="290044"/>
                      <a:pt x="18528" y="283740"/>
                    </a:cubicBezTo>
                    <a:lnTo>
                      <a:pt x="0" y="265211"/>
                    </a:lnTo>
                    <a:cubicBezTo>
                      <a:pt x="6313" y="271524"/>
                      <a:pt x="16468" y="271738"/>
                      <a:pt x="23051" y="265696"/>
                    </a:cubicBezTo>
                    <a:lnTo>
                      <a:pt x="313905" y="0"/>
                    </a:lnTo>
                    <a:close/>
                  </a:path>
                </a:pathLst>
              </a:custGeom>
              <a:solidFill>
                <a:srgbClr val="395A61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2" name="Forme libre : forme 161">
                <a:extLst>
                  <a:ext uri="{FF2B5EF4-FFF2-40B4-BE49-F238E27FC236}">
                    <a16:creationId xmlns:a16="http://schemas.microsoft.com/office/drawing/2014/main" id="{12F19616-5932-9334-4E1A-87906BA72929}"/>
                  </a:ext>
                </a:extLst>
              </p:cNvPr>
              <p:cNvSpPr/>
              <p:nvPr/>
            </p:nvSpPr>
            <p:spPr>
              <a:xfrm>
                <a:off x="2782081" y="2582767"/>
                <a:ext cx="247485" cy="247485"/>
              </a:xfrm>
              <a:custGeom>
                <a:avLst/>
                <a:gdLst>
                  <a:gd name="connsiteX0" fmla="*/ 211242 w 247485"/>
                  <a:gd name="connsiteY0" fmla="*/ 211242 h 247485"/>
                  <a:gd name="connsiteX1" fmla="*/ 36243 w 247485"/>
                  <a:gd name="connsiteY1" fmla="*/ 211242 h 247485"/>
                  <a:gd name="connsiteX2" fmla="*/ 36243 w 247485"/>
                  <a:gd name="connsiteY2" fmla="*/ 36243 h 247485"/>
                  <a:gd name="connsiteX3" fmla="*/ 211242 w 247485"/>
                  <a:gd name="connsiteY3" fmla="*/ 36243 h 247485"/>
                  <a:gd name="connsiteX4" fmla="*/ 211575 w 247485"/>
                  <a:gd name="connsiteY4" fmla="*/ 36577 h 247485"/>
                  <a:gd name="connsiteX5" fmla="*/ 211242 w 247485"/>
                  <a:gd name="connsiteY5" fmla="*/ 211242 h 24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485" h="247485">
                    <a:moveTo>
                      <a:pt x="211242" y="211242"/>
                    </a:moveTo>
                    <a:cubicBezTo>
                      <a:pt x="162917" y="259567"/>
                      <a:pt x="84567" y="259567"/>
                      <a:pt x="36243" y="211242"/>
                    </a:cubicBezTo>
                    <a:cubicBezTo>
                      <a:pt x="-12080" y="162917"/>
                      <a:pt x="-12082" y="84567"/>
                      <a:pt x="36243" y="36243"/>
                    </a:cubicBezTo>
                    <a:cubicBezTo>
                      <a:pt x="84568" y="-12080"/>
                      <a:pt x="162918" y="-12082"/>
                      <a:pt x="211242" y="36243"/>
                    </a:cubicBezTo>
                    <a:cubicBezTo>
                      <a:pt x="211353" y="36355"/>
                      <a:pt x="211463" y="36466"/>
                      <a:pt x="211575" y="36577"/>
                    </a:cubicBezTo>
                    <a:cubicBezTo>
                      <a:pt x="259566" y="84927"/>
                      <a:pt x="259456" y="163028"/>
                      <a:pt x="211242" y="211242"/>
                    </a:cubicBezTo>
                    <a:close/>
                  </a:path>
                </a:pathLst>
              </a:custGeom>
              <a:solidFill>
                <a:srgbClr val="889DAA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3" name="Forme libre : forme 162">
                <a:extLst>
                  <a:ext uri="{FF2B5EF4-FFF2-40B4-BE49-F238E27FC236}">
                    <a16:creationId xmlns:a16="http://schemas.microsoft.com/office/drawing/2014/main" id="{93A1FFDB-0FD6-EEBD-6588-19A9D01CC411}"/>
                  </a:ext>
                </a:extLst>
              </p:cNvPr>
              <p:cNvSpPr/>
              <p:nvPr/>
            </p:nvSpPr>
            <p:spPr>
              <a:xfrm>
                <a:off x="2799309" y="2619436"/>
                <a:ext cx="230257" cy="210815"/>
              </a:xfrm>
              <a:custGeom>
                <a:avLst/>
                <a:gdLst>
                  <a:gd name="connsiteX0" fmla="*/ 194437 w 230257"/>
                  <a:gd name="connsiteY0" fmla="*/ 0 h 210815"/>
                  <a:gd name="connsiteX1" fmla="*/ 194492 w 230257"/>
                  <a:gd name="connsiteY1" fmla="*/ 93 h 210815"/>
                  <a:gd name="connsiteX2" fmla="*/ 175422 w 230257"/>
                  <a:gd name="connsiteY2" fmla="*/ 150544 h 210815"/>
                  <a:gd name="connsiteX3" fmla="*/ 420 w 230257"/>
                  <a:gd name="connsiteY3" fmla="*/ 150554 h 210815"/>
                  <a:gd name="connsiteX4" fmla="*/ 0 w 230257"/>
                  <a:gd name="connsiteY4" fmla="*/ 150115 h 210815"/>
                  <a:gd name="connsiteX5" fmla="*/ 19013 w 230257"/>
                  <a:gd name="connsiteY5" fmla="*/ 174574 h 210815"/>
                  <a:gd name="connsiteX6" fmla="*/ 194007 w 230257"/>
                  <a:gd name="connsiteY6" fmla="*/ 174574 h 210815"/>
                  <a:gd name="connsiteX7" fmla="*/ 194437 w 230257"/>
                  <a:gd name="connsiteY7" fmla="*/ 0 h 21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0257" h="210815">
                    <a:moveTo>
                      <a:pt x="194437" y="0"/>
                    </a:moveTo>
                    <a:cubicBezTo>
                      <a:pt x="194455" y="31"/>
                      <a:pt x="194474" y="63"/>
                      <a:pt x="194492" y="93"/>
                    </a:cubicBezTo>
                    <a:cubicBezTo>
                      <a:pt x="222571" y="47546"/>
                      <a:pt x="216211" y="109755"/>
                      <a:pt x="175422" y="150544"/>
                    </a:cubicBezTo>
                    <a:cubicBezTo>
                      <a:pt x="127091" y="198875"/>
                      <a:pt x="48742" y="198875"/>
                      <a:pt x="420" y="150554"/>
                    </a:cubicBezTo>
                    <a:cubicBezTo>
                      <a:pt x="280" y="150414"/>
                      <a:pt x="131" y="150265"/>
                      <a:pt x="0" y="150115"/>
                    </a:cubicBezTo>
                    <a:cubicBezTo>
                      <a:pt x="5166" y="158843"/>
                      <a:pt x="11508" y="167068"/>
                      <a:pt x="19013" y="174574"/>
                    </a:cubicBezTo>
                    <a:cubicBezTo>
                      <a:pt x="67336" y="222896"/>
                      <a:pt x="145684" y="222896"/>
                      <a:pt x="194007" y="174574"/>
                    </a:cubicBezTo>
                    <a:cubicBezTo>
                      <a:pt x="242199" y="126382"/>
                      <a:pt x="242338" y="48349"/>
                      <a:pt x="194437" y="0"/>
                    </a:cubicBezTo>
                    <a:close/>
                  </a:path>
                </a:pathLst>
              </a:custGeom>
              <a:solidFill>
                <a:srgbClr val="728D9A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4" name="Forme libre : forme 163">
                <a:extLst>
                  <a:ext uri="{FF2B5EF4-FFF2-40B4-BE49-F238E27FC236}">
                    <a16:creationId xmlns:a16="http://schemas.microsoft.com/office/drawing/2014/main" id="{88CAADE7-7117-0806-A380-F6B9C9415960}"/>
                  </a:ext>
                </a:extLst>
              </p:cNvPr>
              <p:cNvSpPr/>
              <p:nvPr/>
            </p:nvSpPr>
            <p:spPr>
              <a:xfrm>
                <a:off x="2791170" y="2591856"/>
                <a:ext cx="229307" cy="229307"/>
              </a:xfrm>
              <a:custGeom>
                <a:avLst/>
                <a:gdLst>
                  <a:gd name="connsiteX0" fmla="*/ 191769 w 229307"/>
                  <a:gd name="connsiteY0" fmla="*/ 226713 h 229307"/>
                  <a:gd name="connsiteX1" fmla="*/ 2594 w 229307"/>
                  <a:gd name="connsiteY1" fmla="*/ 37538 h 229307"/>
                  <a:gd name="connsiteX2" fmla="*/ 2594 w 229307"/>
                  <a:gd name="connsiteY2" fmla="*/ 25011 h 229307"/>
                  <a:gd name="connsiteX3" fmla="*/ 25011 w 229307"/>
                  <a:gd name="connsiteY3" fmla="*/ 2594 h 229307"/>
                  <a:gd name="connsiteX4" fmla="*/ 37538 w 229307"/>
                  <a:gd name="connsiteY4" fmla="*/ 2594 h 229307"/>
                  <a:gd name="connsiteX5" fmla="*/ 226713 w 229307"/>
                  <a:gd name="connsiteY5" fmla="*/ 191769 h 229307"/>
                  <a:gd name="connsiteX6" fmla="*/ 226713 w 229307"/>
                  <a:gd name="connsiteY6" fmla="*/ 204296 h 229307"/>
                  <a:gd name="connsiteX7" fmla="*/ 204296 w 229307"/>
                  <a:gd name="connsiteY7" fmla="*/ 226713 h 229307"/>
                  <a:gd name="connsiteX8" fmla="*/ 191769 w 229307"/>
                  <a:gd name="connsiteY8" fmla="*/ 226713 h 229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9307" h="229307">
                    <a:moveTo>
                      <a:pt x="191769" y="226713"/>
                    </a:moveTo>
                    <a:lnTo>
                      <a:pt x="2594" y="37538"/>
                    </a:lnTo>
                    <a:cubicBezTo>
                      <a:pt x="-865" y="34079"/>
                      <a:pt x="-865" y="28470"/>
                      <a:pt x="2594" y="25011"/>
                    </a:cubicBezTo>
                    <a:lnTo>
                      <a:pt x="25011" y="2594"/>
                    </a:lnTo>
                    <a:cubicBezTo>
                      <a:pt x="28470" y="-865"/>
                      <a:pt x="34079" y="-865"/>
                      <a:pt x="37538" y="2594"/>
                    </a:cubicBezTo>
                    <a:lnTo>
                      <a:pt x="226713" y="191769"/>
                    </a:lnTo>
                    <a:cubicBezTo>
                      <a:pt x="230172" y="195228"/>
                      <a:pt x="230172" y="200837"/>
                      <a:pt x="226713" y="204296"/>
                    </a:cubicBezTo>
                    <a:lnTo>
                      <a:pt x="204296" y="226713"/>
                    </a:lnTo>
                    <a:cubicBezTo>
                      <a:pt x="200837" y="230172"/>
                      <a:pt x="195228" y="230172"/>
                      <a:pt x="191769" y="226713"/>
                    </a:cubicBezTo>
                    <a:close/>
                  </a:path>
                </a:pathLst>
              </a:custGeom>
              <a:solidFill>
                <a:srgbClr val="4F6C77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5" name="Forme libre : forme 164">
                <a:extLst>
                  <a:ext uri="{FF2B5EF4-FFF2-40B4-BE49-F238E27FC236}">
                    <a16:creationId xmlns:a16="http://schemas.microsoft.com/office/drawing/2014/main" id="{74A41948-3952-E2B7-3FFA-8D37BE9675DB}"/>
                  </a:ext>
                </a:extLst>
              </p:cNvPr>
              <p:cNvSpPr/>
              <p:nvPr/>
            </p:nvSpPr>
            <p:spPr>
              <a:xfrm>
                <a:off x="2964287" y="2764971"/>
                <a:ext cx="56185" cy="56190"/>
              </a:xfrm>
              <a:custGeom>
                <a:avLst/>
                <a:gdLst>
                  <a:gd name="connsiteX0" fmla="*/ 53591 w 56185"/>
                  <a:gd name="connsiteY0" fmla="*/ 31183 h 56190"/>
                  <a:gd name="connsiteX1" fmla="*/ 31174 w 56185"/>
                  <a:gd name="connsiteY1" fmla="*/ 53600 h 56190"/>
                  <a:gd name="connsiteX2" fmla="*/ 18650 w 56185"/>
                  <a:gd name="connsiteY2" fmla="*/ 53591 h 56190"/>
                  <a:gd name="connsiteX3" fmla="*/ 0 w 56185"/>
                  <a:gd name="connsiteY3" fmla="*/ 34941 h 56190"/>
                  <a:gd name="connsiteX4" fmla="*/ 12524 w 56185"/>
                  <a:gd name="connsiteY4" fmla="*/ 34950 h 56190"/>
                  <a:gd name="connsiteX5" fmla="*/ 34941 w 56185"/>
                  <a:gd name="connsiteY5" fmla="*/ 12533 h 56190"/>
                  <a:gd name="connsiteX6" fmla="*/ 34941 w 56185"/>
                  <a:gd name="connsiteY6" fmla="*/ 0 h 56190"/>
                  <a:gd name="connsiteX7" fmla="*/ 53591 w 56185"/>
                  <a:gd name="connsiteY7" fmla="*/ 18650 h 56190"/>
                  <a:gd name="connsiteX8" fmla="*/ 53591 w 56185"/>
                  <a:gd name="connsiteY8" fmla="*/ 31183 h 56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85" h="56190">
                    <a:moveTo>
                      <a:pt x="53591" y="31183"/>
                    </a:moveTo>
                    <a:lnTo>
                      <a:pt x="31174" y="53600"/>
                    </a:lnTo>
                    <a:cubicBezTo>
                      <a:pt x="27715" y="57059"/>
                      <a:pt x="22110" y="57051"/>
                      <a:pt x="18650" y="53591"/>
                    </a:cubicBezTo>
                    <a:lnTo>
                      <a:pt x="0" y="34941"/>
                    </a:lnTo>
                    <a:cubicBezTo>
                      <a:pt x="3459" y="38401"/>
                      <a:pt x="9063" y="38411"/>
                      <a:pt x="12524" y="34950"/>
                    </a:cubicBezTo>
                    <a:lnTo>
                      <a:pt x="34941" y="12533"/>
                    </a:lnTo>
                    <a:cubicBezTo>
                      <a:pt x="38401" y="9074"/>
                      <a:pt x="38401" y="3459"/>
                      <a:pt x="34941" y="0"/>
                    </a:cubicBezTo>
                    <a:lnTo>
                      <a:pt x="53591" y="18650"/>
                    </a:lnTo>
                    <a:cubicBezTo>
                      <a:pt x="57051" y="22109"/>
                      <a:pt x="57051" y="27723"/>
                      <a:pt x="53591" y="31183"/>
                    </a:cubicBezTo>
                    <a:close/>
                  </a:path>
                </a:pathLst>
              </a:custGeom>
              <a:solidFill>
                <a:srgbClr val="395A61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6" name="Forme libre : forme 165">
                <a:extLst>
                  <a:ext uri="{FF2B5EF4-FFF2-40B4-BE49-F238E27FC236}">
                    <a16:creationId xmlns:a16="http://schemas.microsoft.com/office/drawing/2014/main" id="{BE5056E9-F81A-A9CB-475D-6EFA1C440464}"/>
                  </a:ext>
                </a:extLst>
              </p:cNvPr>
              <p:cNvSpPr/>
              <p:nvPr/>
            </p:nvSpPr>
            <p:spPr>
              <a:xfrm>
                <a:off x="2383470" y="3175596"/>
                <a:ext cx="74050" cy="62408"/>
              </a:xfrm>
              <a:custGeom>
                <a:avLst/>
                <a:gdLst>
                  <a:gd name="connsiteX0" fmla="*/ 74051 w 74050"/>
                  <a:gd name="connsiteY0" fmla="*/ 15845 h 62408"/>
                  <a:gd name="connsiteX1" fmla="*/ 23612 w 74050"/>
                  <a:gd name="connsiteY1" fmla="*/ 60968 h 62408"/>
                  <a:gd name="connsiteX2" fmla="*/ 15843 w 74050"/>
                  <a:gd name="connsiteY2" fmla="*/ 60753 h 62408"/>
                  <a:gd name="connsiteX3" fmla="*/ 0 w 74050"/>
                  <a:gd name="connsiteY3" fmla="*/ 44903 h 62408"/>
                  <a:gd name="connsiteX4" fmla="*/ 7768 w 74050"/>
                  <a:gd name="connsiteY4" fmla="*/ 45123 h 62408"/>
                  <a:gd name="connsiteX5" fmla="*/ 58207 w 74050"/>
                  <a:gd name="connsiteY5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050" h="62408">
                    <a:moveTo>
                      <a:pt x="74051" y="15845"/>
                    </a:moveTo>
                    <a:lnTo>
                      <a:pt x="23612" y="60968"/>
                    </a:lnTo>
                    <a:cubicBezTo>
                      <a:pt x="21373" y="62963"/>
                      <a:pt x="17970" y="62880"/>
                      <a:pt x="15843" y="60753"/>
                    </a:cubicBezTo>
                    <a:lnTo>
                      <a:pt x="0" y="44903"/>
                    </a:lnTo>
                    <a:cubicBezTo>
                      <a:pt x="2126" y="47029"/>
                      <a:pt x="5530" y="47120"/>
                      <a:pt x="7768" y="45123"/>
                    </a:cubicBezTo>
                    <a:lnTo>
                      <a:pt x="58207" y="0"/>
                    </a:lnTo>
                    <a:close/>
                  </a:path>
                </a:pathLst>
              </a:custGeom>
              <a:solidFill>
                <a:srgbClr val="728D9A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7" name="Forme libre : forme 166">
                <a:extLst>
                  <a:ext uri="{FF2B5EF4-FFF2-40B4-BE49-F238E27FC236}">
                    <a16:creationId xmlns:a16="http://schemas.microsoft.com/office/drawing/2014/main" id="{3C4C185A-B594-D728-A2C3-0F009367B921}"/>
                  </a:ext>
                </a:extLst>
              </p:cNvPr>
              <p:cNvSpPr/>
              <p:nvPr/>
            </p:nvSpPr>
            <p:spPr>
              <a:xfrm>
                <a:off x="2620470" y="2657678"/>
                <a:ext cx="334185" cy="334184"/>
              </a:xfrm>
              <a:custGeom>
                <a:avLst/>
                <a:gdLst>
                  <a:gd name="connsiteX0" fmla="*/ 205678 w 334185"/>
                  <a:gd name="connsiteY0" fmla="*/ 326248 h 334184"/>
                  <a:gd name="connsiteX1" fmla="*/ 7938 w 334185"/>
                  <a:gd name="connsiteY1" fmla="*/ 128507 h 334184"/>
                  <a:gd name="connsiteX2" fmla="*/ 7938 w 334185"/>
                  <a:gd name="connsiteY2" fmla="*/ 90182 h 334184"/>
                  <a:gd name="connsiteX3" fmla="*/ 90182 w 334185"/>
                  <a:gd name="connsiteY3" fmla="*/ 7938 h 334184"/>
                  <a:gd name="connsiteX4" fmla="*/ 128507 w 334185"/>
                  <a:gd name="connsiteY4" fmla="*/ 7938 h 334184"/>
                  <a:gd name="connsiteX5" fmla="*/ 326248 w 334185"/>
                  <a:gd name="connsiteY5" fmla="*/ 205679 h 334184"/>
                  <a:gd name="connsiteX6" fmla="*/ 326248 w 334185"/>
                  <a:gd name="connsiteY6" fmla="*/ 244004 h 334184"/>
                  <a:gd name="connsiteX7" fmla="*/ 244004 w 334185"/>
                  <a:gd name="connsiteY7" fmla="*/ 326248 h 334184"/>
                  <a:gd name="connsiteX8" fmla="*/ 205678 w 334185"/>
                  <a:gd name="connsiteY8" fmla="*/ 326248 h 33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4185" h="334184">
                    <a:moveTo>
                      <a:pt x="205678" y="326248"/>
                    </a:moveTo>
                    <a:lnTo>
                      <a:pt x="7938" y="128507"/>
                    </a:lnTo>
                    <a:cubicBezTo>
                      <a:pt x="-2646" y="117923"/>
                      <a:pt x="-2646" y="100765"/>
                      <a:pt x="7938" y="90182"/>
                    </a:cubicBezTo>
                    <a:lnTo>
                      <a:pt x="90182" y="7938"/>
                    </a:lnTo>
                    <a:cubicBezTo>
                      <a:pt x="100765" y="-2646"/>
                      <a:pt x="117923" y="-2646"/>
                      <a:pt x="128507" y="7938"/>
                    </a:cubicBezTo>
                    <a:lnTo>
                      <a:pt x="326248" y="205679"/>
                    </a:lnTo>
                    <a:cubicBezTo>
                      <a:pt x="336831" y="216262"/>
                      <a:pt x="336831" y="233420"/>
                      <a:pt x="326248" y="244004"/>
                    </a:cubicBezTo>
                    <a:lnTo>
                      <a:pt x="244004" y="326248"/>
                    </a:lnTo>
                    <a:cubicBezTo>
                      <a:pt x="233420" y="336830"/>
                      <a:pt x="216261" y="336830"/>
                      <a:pt x="205678" y="326248"/>
                    </a:cubicBezTo>
                    <a:close/>
                  </a:path>
                </a:pathLst>
              </a:custGeom>
              <a:solidFill>
                <a:srgbClr val="D175B0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168" name="Forme libre : forme 167">
                <a:extLst>
                  <a:ext uri="{FF2B5EF4-FFF2-40B4-BE49-F238E27FC236}">
                    <a16:creationId xmlns:a16="http://schemas.microsoft.com/office/drawing/2014/main" id="{863D43DE-7B3C-5EC2-9CD2-A733E770709B}"/>
                  </a:ext>
                </a:extLst>
              </p:cNvPr>
              <p:cNvSpPr/>
              <p:nvPr/>
            </p:nvSpPr>
            <p:spPr>
              <a:xfrm>
                <a:off x="2807496" y="2844708"/>
                <a:ext cx="147161" cy="147160"/>
              </a:xfrm>
              <a:custGeom>
                <a:avLst/>
                <a:gdLst>
                  <a:gd name="connsiteX0" fmla="*/ 139223 w 147161"/>
                  <a:gd name="connsiteY0" fmla="*/ 56976 h 147160"/>
                  <a:gd name="connsiteX1" fmla="*/ 56976 w 147161"/>
                  <a:gd name="connsiteY1" fmla="*/ 139223 h 147160"/>
                  <a:gd name="connsiteX2" fmla="*/ 18650 w 147161"/>
                  <a:gd name="connsiteY2" fmla="*/ 139223 h 147160"/>
                  <a:gd name="connsiteX3" fmla="*/ 0 w 147161"/>
                  <a:gd name="connsiteY3" fmla="*/ 120573 h 147160"/>
                  <a:gd name="connsiteX4" fmla="*/ 38326 w 147161"/>
                  <a:gd name="connsiteY4" fmla="*/ 120573 h 147160"/>
                  <a:gd name="connsiteX5" fmla="*/ 120573 w 147161"/>
                  <a:gd name="connsiteY5" fmla="*/ 38326 h 147160"/>
                  <a:gd name="connsiteX6" fmla="*/ 120573 w 147161"/>
                  <a:gd name="connsiteY6" fmla="*/ 0 h 147160"/>
                  <a:gd name="connsiteX7" fmla="*/ 139223 w 147161"/>
                  <a:gd name="connsiteY7" fmla="*/ 18650 h 147160"/>
                  <a:gd name="connsiteX8" fmla="*/ 139223 w 147161"/>
                  <a:gd name="connsiteY8" fmla="*/ 56976 h 14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161" h="147160">
                    <a:moveTo>
                      <a:pt x="139223" y="56976"/>
                    </a:moveTo>
                    <a:lnTo>
                      <a:pt x="56976" y="139223"/>
                    </a:lnTo>
                    <a:cubicBezTo>
                      <a:pt x="46393" y="149806"/>
                      <a:pt x="29235" y="149806"/>
                      <a:pt x="18650" y="139223"/>
                    </a:cubicBezTo>
                    <a:lnTo>
                      <a:pt x="0" y="120573"/>
                    </a:lnTo>
                    <a:cubicBezTo>
                      <a:pt x="10584" y="131156"/>
                      <a:pt x="27741" y="131156"/>
                      <a:pt x="38326" y="120573"/>
                    </a:cubicBezTo>
                    <a:lnTo>
                      <a:pt x="120573" y="38326"/>
                    </a:lnTo>
                    <a:cubicBezTo>
                      <a:pt x="131156" y="27743"/>
                      <a:pt x="131156" y="10585"/>
                      <a:pt x="120573" y="0"/>
                    </a:cubicBezTo>
                    <a:lnTo>
                      <a:pt x="139223" y="18650"/>
                    </a:lnTo>
                    <a:cubicBezTo>
                      <a:pt x="149808" y="29235"/>
                      <a:pt x="149808" y="46393"/>
                      <a:pt x="139223" y="56976"/>
                    </a:cubicBezTo>
                    <a:close/>
                  </a:path>
                </a:pathLst>
              </a:custGeom>
              <a:solidFill>
                <a:srgbClr val="A8468E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</p:grpSp>
        <p:grpSp>
          <p:nvGrpSpPr>
            <p:cNvPr id="92" name="Graphique 16">
              <a:extLst>
                <a:ext uri="{FF2B5EF4-FFF2-40B4-BE49-F238E27FC236}">
                  <a16:creationId xmlns:a16="http://schemas.microsoft.com/office/drawing/2014/main" id="{E32F8682-C168-BA67-3ACB-534B48A23F09}"/>
                </a:ext>
              </a:extLst>
            </p:cNvPr>
            <p:cNvGrpSpPr/>
            <p:nvPr/>
          </p:nvGrpSpPr>
          <p:grpSpPr>
            <a:xfrm>
              <a:off x="2661190" y="2698481"/>
              <a:ext cx="246841" cy="245634"/>
              <a:chOff x="2661190" y="2698481"/>
              <a:chExt cx="246841" cy="245634"/>
            </a:xfrm>
            <a:solidFill>
              <a:srgbClr val="F9F6F6"/>
            </a:solidFill>
          </p:grpSpPr>
          <p:sp>
            <p:nvSpPr>
              <p:cNvPr id="93" name="Forme libre : forme 92">
                <a:extLst>
                  <a:ext uri="{FF2B5EF4-FFF2-40B4-BE49-F238E27FC236}">
                    <a16:creationId xmlns:a16="http://schemas.microsoft.com/office/drawing/2014/main" id="{B4B23A02-19ED-AF12-2259-DA36EAEC0411}"/>
                  </a:ext>
                </a:extLst>
              </p:cNvPr>
              <p:cNvSpPr/>
              <p:nvPr/>
            </p:nvSpPr>
            <p:spPr>
              <a:xfrm>
                <a:off x="2661190" y="2698481"/>
                <a:ext cx="93661" cy="92304"/>
              </a:xfrm>
              <a:custGeom>
                <a:avLst/>
                <a:gdLst>
                  <a:gd name="connsiteX0" fmla="*/ 55047 w 93661"/>
                  <a:gd name="connsiteY0" fmla="*/ 54991 h 92304"/>
                  <a:gd name="connsiteX1" fmla="*/ 62976 w 93661"/>
                  <a:gd name="connsiteY1" fmla="*/ 11668 h 92304"/>
                  <a:gd name="connsiteX2" fmla="*/ 57845 w 93661"/>
                  <a:gd name="connsiteY2" fmla="*/ 1133 h 92304"/>
                  <a:gd name="connsiteX3" fmla="*/ 46259 w 93661"/>
                  <a:gd name="connsiteY3" fmla="*/ 2897 h 92304"/>
                  <a:gd name="connsiteX4" fmla="*/ 2897 w 93661"/>
                  <a:gd name="connsiteY4" fmla="*/ 46257 h 92304"/>
                  <a:gd name="connsiteX5" fmla="*/ 2897 w 93661"/>
                  <a:gd name="connsiteY5" fmla="*/ 60241 h 92304"/>
                  <a:gd name="connsiteX6" fmla="*/ 16881 w 93661"/>
                  <a:gd name="connsiteY6" fmla="*/ 60241 h 92304"/>
                  <a:gd name="connsiteX7" fmla="*/ 37814 w 93661"/>
                  <a:gd name="connsiteY7" fmla="*/ 39310 h 92304"/>
                  <a:gd name="connsiteX8" fmla="*/ 30387 w 93661"/>
                  <a:gd name="connsiteY8" fmla="*/ 79884 h 92304"/>
                  <a:gd name="connsiteX9" fmla="*/ 48786 w 93661"/>
                  <a:gd name="connsiteY9" fmla="*/ 89219 h 92304"/>
                  <a:gd name="connsiteX10" fmla="*/ 90765 w 93661"/>
                  <a:gd name="connsiteY10" fmla="*/ 47240 h 92304"/>
                  <a:gd name="connsiteX11" fmla="*/ 90765 w 93661"/>
                  <a:gd name="connsiteY11" fmla="*/ 33256 h 92304"/>
                  <a:gd name="connsiteX12" fmla="*/ 76781 w 93661"/>
                  <a:gd name="connsiteY12" fmla="*/ 33256 h 9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3661" h="92304">
                    <a:moveTo>
                      <a:pt x="55047" y="54991"/>
                    </a:moveTo>
                    <a:lnTo>
                      <a:pt x="62976" y="11668"/>
                    </a:lnTo>
                    <a:cubicBezTo>
                      <a:pt x="63756" y="7412"/>
                      <a:pt x="61676" y="3142"/>
                      <a:pt x="57845" y="1133"/>
                    </a:cubicBezTo>
                    <a:cubicBezTo>
                      <a:pt x="54012" y="-879"/>
                      <a:pt x="49318" y="-163"/>
                      <a:pt x="46259" y="2897"/>
                    </a:cubicBezTo>
                    <a:lnTo>
                      <a:pt x="2897" y="46257"/>
                    </a:lnTo>
                    <a:cubicBezTo>
                      <a:pt x="-966" y="50118"/>
                      <a:pt x="-966" y="56380"/>
                      <a:pt x="2897" y="60241"/>
                    </a:cubicBezTo>
                    <a:cubicBezTo>
                      <a:pt x="6758" y="64104"/>
                      <a:pt x="13020" y="64104"/>
                      <a:pt x="16881" y="60241"/>
                    </a:cubicBezTo>
                    <a:lnTo>
                      <a:pt x="37814" y="39310"/>
                    </a:lnTo>
                    <a:cubicBezTo>
                      <a:pt x="37814" y="39310"/>
                      <a:pt x="30404" y="79799"/>
                      <a:pt x="30387" y="79884"/>
                    </a:cubicBezTo>
                    <a:cubicBezTo>
                      <a:pt x="28510" y="90142"/>
                      <a:pt x="41616" y="96392"/>
                      <a:pt x="48786" y="89219"/>
                    </a:cubicBezTo>
                    <a:lnTo>
                      <a:pt x="90765" y="47240"/>
                    </a:lnTo>
                    <a:cubicBezTo>
                      <a:pt x="94628" y="43379"/>
                      <a:pt x="94628" y="37117"/>
                      <a:pt x="90765" y="33256"/>
                    </a:cubicBezTo>
                    <a:cubicBezTo>
                      <a:pt x="86904" y="29395"/>
                      <a:pt x="80642" y="29395"/>
                      <a:pt x="76781" y="33256"/>
                    </a:cubicBezTo>
                    <a:close/>
                  </a:path>
                </a:pathLst>
              </a:custGeom>
              <a:solidFill>
                <a:srgbClr val="F9F6F6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94" name="Forme libre : forme 93">
                <a:extLst>
                  <a:ext uri="{FF2B5EF4-FFF2-40B4-BE49-F238E27FC236}">
                    <a16:creationId xmlns:a16="http://schemas.microsoft.com/office/drawing/2014/main" id="{99C15395-4EC7-E5C9-5D2B-9534654FCFF1}"/>
                  </a:ext>
                </a:extLst>
              </p:cNvPr>
              <p:cNvSpPr/>
              <p:nvPr/>
            </p:nvSpPr>
            <p:spPr>
              <a:xfrm>
                <a:off x="2716704" y="2753913"/>
                <a:ext cx="80961" cy="80925"/>
              </a:xfrm>
              <a:custGeom>
                <a:avLst/>
                <a:gdLst>
                  <a:gd name="connsiteX0" fmla="*/ 2895 w 80961"/>
                  <a:gd name="connsiteY0" fmla="*/ 59925 h 80925"/>
                  <a:gd name="connsiteX1" fmla="*/ 21034 w 80961"/>
                  <a:gd name="connsiteY1" fmla="*/ 78063 h 80925"/>
                  <a:gd name="connsiteX2" fmla="*/ 35017 w 80961"/>
                  <a:gd name="connsiteY2" fmla="*/ 78063 h 80925"/>
                  <a:gd name="connsiteX3" fmla="*/ 35017 w 80961"/>
                  <a:gd name="connsiteY3" fmla="*/ 64079 h 80925"/>
                  <a:gd name="connsiteX4" fmla="*/ 23872 w 80961"/>
                  <a:gd name="connsiteY4" fmla="*/ 52934 h 80925"/>
                  <a:gd name="connsiteX5" fmla="*/ 31411 w 80961"/>
                  <a:gd name="connsiteY5" fmla="*/ 45394 h 80925"/>
                  <a:gd name="connsiteX6" fmla="*/ 41219 w 80961"/>
                  <a:gd name="connsiteY6" fmla="*/ 55204 h 80925"/>
                  <a:gd name="connsiteX7" fmla="*/ 55203 w 80961"/>
                  <a:gd name="connsiteY7" fmla="*/ 55204 h 80925"/>
                  <a:gd name="connsiteX8" fmla="*/ 55203 w 80961"/>
                  <a:gd name="connsiteY8" fmla="*/ 41220 h 80925"/>
                  <a:gd name="connsiteX9" fmla="*/ 45395 w 80961"/>
                  <a:gd name="connsiteY9" fmla="*/ 31410 h 80925"/>
                  <a:gd name="connsiteX10" fmla="*/ 52934 w 80961"/>
                  <a:gd name="connsiteY10" fmla="*/ 23871 h 80925"/>
                  <a:gd name="connsiteX11" fmla="*/ 64081 w 80961"/>
                  <a:gd name="connsiteY11" fmla="*/ 35018 h 80925"/>
                  <a:gd name="connsiteX12" fmla="*/ 78065 w 80961"/>
                  <a:gd name="connsiteY12" fmla="*/ 35018 h 80925"/>
                  <a:gd name="connsiteX13" fmla="*/ 78065 w 80961"/>
                  <a:gd name="connsiteY13" fmla="*/ 21034 h 80925"/>
                  <a:gd name="connsiteX14" fmla="*/ 59927 w 80961"/>
                  <a:gd name="connsiteY14" fmla="*/ 2896 h 80925"/>
                  <a:gd name="connsiteX15" fmla="*/ 52935 w 80961"/>
                  <a:gd name="connsiteY15" fmla="*/ 0 h 80925"/>
                  <a:gd name="connsiteX16" fmla="*/ 45944 w 80961"/>
                  <a:gd name="connsiteY16" fmla="*/ 2896 h 80925"/>
                  <a:gd name="connsiteX17" fmla="*/ 2898 w 80961"/>
                  <a:gd name="connsiteY17" fmla="*/ 45942 h 80925"/>
                  <a:gd name="connsiteX18" fmla="*/ 2895 w 80961"/>
                  <a:gd name="connsiteY18" fmla="*/ 59925 h 80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0961" h="80925">
                    <a:moveTo>
                      <a:pt x="2895" y="59925"/>
                    </a:moveTo>
                    <a:cubicBezTo>
                      <a:pt x="2895" y="59925"/>
                      <a:pt x="21009" y="78040"/>
                      <a:pt x="21034" y="78063"/>
                    </a:cubicBezTo>
                    <a:cubicBezTo>
                      <a:pt x="24855" y="81884"/>
                      <a:pt x="31204" y="81875"/>
                      <a:pt x="35017" y="78063"/>
                    </a:cubicBezTo>
                    <a:cubicBezTo>
                      <a:pt x="38880" y="74202"/>
                      <a:pt x="38880" y="67940"/>
                      <a:pt x="35017" y="64079"/>
                    </a:cubicBezTo>
                    <a:lnTo>
                      <a:pt x="23872" y="52934"/>
                    </a:lnTo>
                    <a:lnTo>
                      <a:pt x="31411" y="45394"/>
                    </a:lnTo>
                    <a:cubicBezTo>
                      <a:pt x="31411" y="45394"/>
                      <a:pt x="41218" y="55203"/>
                      <a:pt x="41219" y="55204"/>
                    </a:cubicBezTo>
                    <a:cubicBezTo>
                      <a:pt x="45005" y="58991"/>
                      <a:pt x="51410" y="58996"/>
                      <a:pt x="55203" y="55204"/>
                    </a:cubicBezTo>
                    <a:cubicBezTo>
                      <a:pt x="59065" y="51343"/>
                      <a:pt x="59065" y="45082"/>
                      <a:pt x="55203" y="41220"/>
                    </a:cubicBezTo>
                    <a:lnTo>
                      <a:pt x="45395" y="31410"/>
                    </a:lnTo>
                    <a:lnTo>
                      <a:pt x="52934" y="23871"/>
                    </a:lnTo>
                    <a:lnTo>
                      <a:pt x="64081" y="35018"/>
                    </a:lnTo>
                    <a:cubicBezTo>
                      <a:pt x="67942" y="38879"/>
                      <a:pt x="74204" y="38879"/>
                      <a:pt x="78065" y="35018"/>
                    </a:cubicBezTo>
                    <a:cubicBezTo>
                      <a:pt x="81927" y="31157"/>
                      <a:pt x="81927" y="24895"/>
                      <a:pt x="78065" y="21034"/>
                    </a:cubicBezTo>
                    <a:lnTo>
                      <a:pt x="59927" y="2896"/>
                    </a:lnTo>
                    <a:cubicBezTo>
                      <a:pt x="58072" y="1042"/>
                      <a:pt x="55558" y="0"/>
                      <a:pt x="52935" y="0"/>
                    </a:cubicBezTo>
                    <a:cubicBezTo>
                      <a:pt x="50313" y="0"/>
                      <a:pt x="47797" y="1042"/>
                      <a:pt x="45944" y="2896"/>
                    </a:cubicBezTo>
                    <a:lnTo>
                      <a:pt x="2898" y="45942"/>
                    </a:lnTo>
                    <a:cubicBezTo>
                      <a:pt x="-966" y="49802"/>
                      <a:pt x="-966" y="56063"/>
                      <a:pt x="2895" y="59925"/>
                    </a:cubicBezTo>
                    <a:close/>
                  </a:path>
                </a:pathLst>
              </a:custGeom>
              <a:solidFill>
                <a:srgbClr val="F9F6F6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95" name="Forme libre : forme 94">
                <a:extLst>
                  <a:ext uri="{FF2B5EF4-FFF2-40B4-BE49-F238E27FC236}">
                    <a16:creationId xmlns:a16="http://schemas.microsoft.com/office/drawing/2014/main" id="{7FA70920-3E35-491E-D6E5-A591CF066016}"/>
                  </a:ext>
                </a:extLst>
              </p:cNvPr>
              <p:cNvSpPr/>
              <p:nvPr/>
            </p:nvSpPr>
            <p:spPr>
              <a:xfrm>
                <a:off x="2828912" y="2868255"/>
                <a:ext cx="79119" cy="75860"/>
              </a:xfrm>
              <a:custGeom>
                <a:avLst/>
                <a:gdLst>
                  <a:gd name="connsiteX0" fmla="*/ 26582 w 79119"/>
                  <a:gd name="connsiteY0" fmla="*/ 26597 h 75860"/>
                  <a:gd name="connsiteX1" fmla="*/ 34790 w 79119"/>
                  <a:gd name="connsiteY1" fmla="*/ 46460 h 75860"/>
                  <a:gd name="connsiteX2" fmla="*/ 35315 w 79119"/>
                  <a:gd name="connsiteY2" fmla="*/ 55334 h 75860"/>
                  <a:gd name="connsiteX3" fmla="*/ 25610 w 79119"/>
                  <a:gd name="connsiteY3" fmla="*/ 52934 h 75860"/>
                  <a:gd name="connsiteX4" fmla="*/ 19795 w 79119"/>
                  <a:gd name="connsiteY4" fmla="*/ 38834 h 75860"/>
                  <a:gd name="connsiteX5" fmla="*/ 10405 w 79119"/>
                  <a:gd name="connsiteY5" fmla="*/ 28471 h 75860"/>
                  <a:gd name="connsiteX6" fmla="*/ 43 w 79119"/>
                  <a:gd name="connsiteY6" fmla="*/ 37861 h 75860"/>
                  <a:gd name="connsiteX7" fmla="*/ 11626 w 79119"/>
                  <a:gd name="connsiteY7" fmla="*/ 66917 h 75860"/>
                  <a:gd name="connsiteX8" fmla="*/ 46623 w 79119"/>
                  <a:gd name="connsiteY8" fmla="*/ 71556 h 75860"/>
                  <a:gd name="connsiteX9" fmla="*/ 52749 w 79119"/>
                  <a:gd name="connsiteY9" fmla="*/ 38178 h 75860"/>
                  <a:gd name="connsiteX10" fmla="*/ 45880 w 79119"/>
                  <a:gd name="connsiteY10" fmla="*/ 22020 h 75860"/>
                  <a:gd name="connsiteX11" fmla="*/ 46783 w 79119"/>
                  <a:gd name="connsiteY11" fmla="*/ 20372 h 75860"/>
                  <a:gd name="connsiteX12" fmla="*/ 51349 w 79119"/>
                  <a:gd name="connsiteY12" fmla="*/ 20524 h 75860"/>
                  <a:gd name="connsiteX13" fmla="*/ 59388 w 79119"/>
                  <a:gd name="connsiteY13" fmla="*/ 33525 h 75860"/>
                  <a:gd name="connsiteX14" fmla="*/ 70084 w 79119"/>
                  <a:gd name="connsiteY14" fmla="*/ 42436 h 75860"/>
                  <a:gd name="connsiteX15" fmla="*/ 79082 w 79119"/>
                  <a:gd name="connsiteY15" fmla="*/ 31731 h 75860"/>
                  <a:gd name="connsiteX16" fmla="*/ 60705 w 79119"/>
                  <a:gd name="connsiteY16" fmla="*/ 3101 h 75860"/>
                  <a:gd name="connsiteX17" fmla="*/ 34927 w 79119"/>
                  <a:gd name="connsiteY17" fmla="*/ 4542 h 75860"/>
                  <a:gd name="connsiteX18" fmla="*/ 26582 w 79119"/>
                  <a:gd name="connsiteY18" fmla="*/ 26597 h 7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9119" h="75860">
                    <a:moveTo>
                      <a:pt x="26582" y="26597"/>
                    </a:moveTo>
                    <a:cubicBezTo>
                      <a:pt x="27985" y="33263"/>
                      <a:pt x="31953" y="40304"/>
                      <a:pt x="34790" y="46460"/>
                    </a:cubicBezTo>
                    <a:cubicBezTo>
                      <a:pt x="36277" y="49686"/>
                      <a:pt x="37307" y="53945"/>
                      <a:pt x="35315" y="55334"/>
                    </a:cubicBezTo>
                    <a:cubicBezTo>
                      <a:pt x="33578" y="56543"/>
                      <a:pt x="29293" y="56617"/>
                      <a:pt x="25610" y="52934"/>
                    </a:cubicBezTo>
                    <a:cubicBezTo>
                      <a:pt x="21725" y="49049"/>
                      <a:pt x="19552" y="43779"/>
                      <a:pt x="19795" y="38834"/>
                    </a:cubicBezTo>
                    <a:cubicBezTo>
                      <a:pt x="20064" y="33379"/>
                      <a:pt x="15860" y="28740"/>
                      <a:pt x="10405" y="28471"/>
                    </a:cubicBezTo>
                    <a:cubicBezTo>
                      <a:pt x="4955" y="28200"/>
                      <a:pt x="312" y="32407"/>
                      <a:pt x="43" y="37861"/>
                    </a:cubicBezTo>
                    <a:cubicBezTo>
                      <a:pt x="-478" y="48443"/>
                      <a:pt x="3743" y="59033"/>
                      <a:pt x="11626" y="66917"/>
                    </a:cubicBezTo>
                    <a:cubicBezTo>
                      <a:pt x="20668" y="75960"/>
                      <a:pt x="35572" y="79259"/>
                      <a:pt x="46623" y="71556"/>
                    </a:cubicBezTo>
                    <a:cubicBezTo>
                      <a:pt x="54494" y="66070"/>
                      <a:pt x="60237" y="54420"/>
                      <a:pt x="52749" y="38178"/>
                    </a:cubicBezTo>
                    <a:cubicBezTo>
                      <a:pt x="49558" y="31257"/>
                      <a:pt x="46857" y="24507"/>
                      <a:pt x="45880" y="22020"/>
                    </a:cubicBezTo>
                    <a:cubicBezTo>
                      <a:pt x="45888" y="21224"/>
                      <a:pt x="46353" y="20693"/>
                      <a:pt x="46783" y="20372"/>
                    </a:cubicBezTo>
                    <a:cubicBezTo>
                      <a:pt x="47918" y="19521"/>
                      <a:pt x="49584" y="19577"/>
                      <a:pt x="51349" y="20524"/>
                    </a:cubicBezTo>
                    <a:cubicBezTo>
                      <a:pt x="58216" y="24211"/>
                      <a:pt x="59347" y="33178"/>
                      <a:pt x="59388" y="33525"/>
                    </a:cubicBezTo>
                    <a:cubicBezTo>
                      <a:pt x="59903" y="38921"/>
                      <a:pt x="64668" y="42903"/>
                      <a:pt x="70084" y="42436"/>
                    </a:cubicBezTo>
                    <a:cubicBezTo>
                      <a:pt x="75525" y="41964"/>
                      <a:pt x="79553" y="37173"/>
                      <a:pt x="79082" y="31731"/>
                    </a:cubicBezTo>
                    <a:cubicBezTo>
                      <a:pt x="78449" y="24424"/>
                      <a:pt x="73866" y="10170"/>
                      <a:pt x="60705" y="3101"/>
                    </a:cubicBezTo>
                    <a:cubicBezTo>
                      <a:pt x="52137" y="-1501"/>
                      <a:pt x="42259" y="-949"/>
                      <a:pt x="34927" y="4542"/>
                    </a:cubicBezTo>
                    <a:cubicBezTo>
                      <a:pt x="28006" y="9729"/>
                      <a:pt x="24808" y="18178"/>
                      <a:pt x="26582" y="26597"/>
                    </a:cubicBezTo>
                    <a:close/>
                  </a:path>
                </a:pathLst>
              </a:custGeom>
              <a:solidFill>
                <a:srgbClr val="F9F6F6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  <p:sp>
            <p:nvSpPr>
              <p:cNvPr id="344" name="Forme libre : forme 343">
                <a:extLst>
                  <a:ext uri="{FF2B5EF4-FFF2-40B4-BE49-F238E27FC236}">
                    <a16:creationId xmlns:a16="http://schemas.microsoft.com/office/drawing/2014/main" id="{B2FF486A-D05D-DB67-75A6-7964DA2B4CA1}"/>
                  </a:ext>
                </a:extLst>
              </p:cNvPr>
              <p:cNvSpPr/>
              <p:nvPr/>
            </p:nvSpPr>
            <p:spPr>
              <a:xfrm>
                <a:off x="2765889" y="2794146"/>
                <a:ext cx="101256" cy="101229"/>
              </a:xfrm>
              <a:custGeom>
                <a:avLst/>
                <a:gdLst>
                  <a:gd name="connsiteX0" fmla="*/ 16289 w 101256"/>
                  <a:gd name="connsiteY0" fmla="*/ 71856 h 101229"/>
                  <a:gd name="connsiteX1" fmla="*/ 16534 w 101256"/>
                  <a:gd name="connsiteY1" fmla="*/ 71732 h 101229"/>
                  <a:gd name="connsiteX2" fmla="*/ 44175 w 101256"/>
                  <a:gd name="connsiteY2" fmla="*/ 57157 h 101229"/>
                  <a:gd name="connsiteX3" fmla="*/ 29567 w 101256"/>
                  <a:gd name="connsiteY3" fmla="*/ 84773 h 101229"/>
                  <a:gd name="connsiteX4" fmla="*/ 29380 w 101256"/>
                  <a:gd name="connsiteY4" fmla="*/ 85145 h 101229"/>
                  <a:gd name="connsiteX5" fmla="*/ 31640 w 101256"/>
                  <a:gd name="connsiteY5" fmla="*/ 98017 h 101229"/>
                  <a:gd name="connsiteX6" fmla="*/ 45665 w 101256"/>
                  <a:gd name="connsiteY6" fmla="*/ 99457 h 101229"/>
                  <a:gd name="connsiteX7" fmla="*/ 96860 w 101256"/>
                  <a:gd name="connsiteY7" fmla="*/ 65256 h 101229"/>
                  <a:gd name="connsiteX8" fmla="*/ 99590 w 101256"/>
                  <a:gd name="connsiteY8" fmla="*/ 51542 h 101229"/>
                  <a:gd name="connsiteX9" fmla="*/ 85876 w 101256"/>
                  <a:gd name="connsiteY9" fmla="*/ 48813 h 101229"/>
                  <a:gd name="connsiteX10" fmla="*/ 62811 w 101256"/>
                  <a:gd name="connsiteY10" fmla="*/ 64220 h 101229"/>
                  <a:gd name="connsiteX11" fmla="*/ 76656 w 101256"/>
                  <a:gd name="connsiteY11" fmla="*/ 38046 h 101229"/>
                  <a:gd name="connsiteX12" fmla="*/ 72539 w 101256"/>
                  <a:gd name="connsiteY12" fmla="*/ 24683 h 101229"/>
                  <a:gd name="connsiteX13" fmla="*/ 62583 w 101256"/>
                  <a:gd name="connsiteY13" fmla="*/ 25094 h 101229"/>
                  <a:gd name="connsiteX14" fmla="*/ 37103 w 101256"/>
                  <a:gd name="connsiteY14" fmla="*/ 38528 h 101229"/>
                  <a:gd name="connsiteX15" fmla="*/ 52597 w 101256"/>
                  <a:gd name="connsiteY15" fmla="*/ 15392 h 101229"/>
                  <a:gd name="connsiteX16" fmla="*/ 49884 w 101256"/>
                  <a:gd name="connsiteY16" fmla="*/ 1674 h 101229"/>
                  <a:gd name="connsiteX17" fmla="*/ 36166 w 101256"/>
                  <a:gd name="connsiteY17" fmla="*/ 4387 h 101229"/>
                  <a:gd name="connsiteX18" fmla="*/ 1116 w 101256"/>
                  <a:gd name="connsiteY18" fmla="*/ 56892 h 101229"/>
                  <a:gd name="connsiteX19" fmla="*/ 16289 w 101256"/>
                  <a:gd name="connsiteY19" fmla="*/ 71856 h 101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1256" h="101229">
                    <a:moveTo>
                      <a:pt x="16289" y="71856"/>
                    </a:moveTo>
                    <a:cubicBezTo>
                      <a:pt x="16371" y="71816"/>
                      <a:pt x="16453" y="71774"/>
                      <a:pt x="16534" y="71732"/>
                    </a:cubicBezTo>
                    <a:lnTo>
                      <a:pt x="44175" y="57157"/>
                    </a:lnTo>
                    <a:lnTo>
                      <a:pt x="29567" y="84773"/>
                    </a:lnTo>
                    <a:cubicBezTo>
                      <a:pt x="29501" y="84896"/>
                      <a:pt x="29439" y="85020"/>
                      <a:pt x="29380" y="85145"/>
                    </a:cubicBezTo>
                    <a:cubicBezTo>
                      <a:pt x="27318" y="89476"/>
                      <a:pt x="28227" y="94649"/>
                      <a:pt x="31640" y="98017"/>
                    </a:cubicBezTo>
                    <a:cubicBezTo>
                      <a:pt x="35250" y="101580"/>
                      <a:pt x="41329" y="102353"/>
                      <a:pt x="45665" y="99457"/>
                    </a:cubicBezTo>
                    <a:cubicBezTo>
                      <a:pt x="45667" y="99454"/>
                      <a:pt x="96860" y="65256"/>
                      <a:pt x="96860" y="65256"/>
                    </a:cubicBezTo>
                    <a:cubicBezTo>
                      <a:pt x="101401" y="62223"/>
                      <a:pt x="102623" y="56083"/>
                      <a:pt x="99590" y="51542"/>
                    </a:cubicBezTo>
                    <a:cubicBezTo>
                      <a:pt x="96557" y="47002"/>
                      <a:pt x="90417" y="45780"/>
                      <a:pt x="85876" y="48813"/>
                    </a:cubicBezTo>
                    <a:lnTo>
                      <a:pt x="62811" y="64220"/>
                    </a:lnTo>
                    <a:lnTo>
                      <a:pt x="76656" y="38046"/>
                    </a:lnTo>
                    <a:cubicBezTo>
                      <a:pt x="79209" y="33219"/>
                      <a:pt x="77366" y="27236"/>
                      <a:pt x="72539" y="24683"/>
                    </a:cubicBezTo>
                    <a:cubicBezTo>
                      <a:pt x="69275" y="22955"/>
                      <a:pt x="65486" y="23239"/>
                      <a:pt x="62583" y="25094"/>
                    </a:cubicBezTo>
                    <a:lnTo>
                      <a:pt x="37103" y="38528"/>
                    </a:lnTo>
                    <a:lnTo>
                      <a:pt x="52597" y="15392"/>
                    </a:lnTo>
                    <a:cubicBezTo>
                      <a:pt x="55637" y="10855"/>
                      <a:pt x="54422" y="4712"/>
                      <a:pt x="49884" y="1674"/>
                    </a:cubicBezTo>
                    <a:cubicBezTo>
                      <a:pt x="45346" y="-1366"/>
                      <a:pt x="39205" y="-151"/>
                      <a:pt x="36166" y="4387"/>
                    </a:cubicBezTo>
                    <a:cubicBezTo>
                      <a:pt x="36041" y="4575"/>
                      <a:pt x="2268" y="54556"/>
                      <a:pt x="1116" y="56892"/>
                    </a:cubicBezTo>
                    <a:cubicBezTo>
                      <a:pt x="-3501" y="66269"/>
                      <a:pt x="7116" y="76376"/>
                      <a:pt x="16289" y="71856"/>
                    </a:cubicBezTo>
                    <a:close/>
                  </a:path>
                </a:pathLst>
              </a:custGeom>
              <a:solidFill>
                <a:srgbClr val="F9F6F6"/>
              </a:solidFill>
              <a:ln w="12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8">
                  <a:defRPr/>
                </a:pPr>
                <a:endParaRPr lang="fr-FR"/>
              </a:p>
            </p:txBody>
          </p:sp>
        </p:grpSp>
      </p:grpSp>
      <p:sp>
        <p:nvSpPr>
          <p:cNvPr id="169" name="Arc 168">
            <a:extLst>
              <a:ext uri="{FF2B5EF4-FFF2-40B4-BE49-F238E27FC236}">
                <a16:creationId xmlns:a16="http://schemas.microsoft.com/office/drawing/2014/main" id="{C0A186EE-2892-0264-9C3D-51D47127D85C}"/>
              </a:ext>
            </a:extLst>
          </p:cNvPr>
          <p:cNvSpPr/>
          <p:nvPr/>
        </p:nvSpPr>
        <p:spPr>
          <a:xfrm rot="7570137" flipV="1">
            <a:off x="5322881" y="3451753"/>
            <a:ext cx="413999" cy="524644"/>
          </a:xfrm>
          <a:prstGeom prst="arc">
            <a:avLst>
              <a:gd name="adj1" fmla="val 19785636"/>
              <a:gd name="adj2" fmla="val 3010496"/>
            </a:avLst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just" defTabSz="342900">
              <a:defRPr/>
            </a:pPr>
            <a:endParaRPr lang="fr-FR" sz="13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ZoneTexte 169">
            <a:extLst>
              <a:ext uri="{FF2B5EF4-FFF2-40B4-BE49-F238E27FC236}">
                <a16:creationId xmlns:a16="http://schemas.microsoft.com/office/drawing/2014/main" id="{50BC27CB-A598-CF0E-0F16-59A4B776623B}"/>
              </a:ext>
            </a:extLst>
          </p:cNvPr>
          <p:cNvSpPr txBox="1"/>
          <p:nvPr/>
        </p:nvSpPr>
        <p:spPr>
          <a:xfrm>
            <a:off x="4090138" y="2833891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February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182" name="ZoneTexte 181">
            <a:extLst>
              <a:ext uri="{FF2B5EF4-FFF2-40B4-BE49-F238E27FC236}">
                <a16:creationId xmlns:a16="http://schemas.microsoft.com/office/drawing/2014/main" id="{173CDA13-BC56-6917-5E67-5B32FBBA7509}"/>
              </a:ext>
            </a:extLst>
          </p:cNvPr>
          <p:cNvSpPr txBox="1"/>
          <p:nvPr/>
        </p:nvSpPr>
        <p:spPr>
          <a:xfrm>
            <a:off x="5140913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March</a:t>
            </a:r>
            <a:endParaRPr lang="fr-FR" sz="600">
              <a:solidFill>
                <a:schemeClr val="accent1"/>
              </a:solidFill>
            </a:endParaRPr>
          </a:p>
        </p:txBody>
      </p:sp>
      <p:cxnSp>
        <p:nvCxnSpPr>
          <p:cNvPr id="185" name="Connecteur droit 184">
            <a:extLst>
              <a:ext uri="{FF2B5EF4-FFF2-40B4-BE49-F238E27FC236}">
                <a16:creationId xmlns:a16="http://schemas.microsoft.com/office/drawing/2014/main" id="{9FE9BE85-5678-5034-2707-F45E8D185782}"/>
              </a:ext>
            </a:extLst>
          </p:cNvPr>
          <p:cNvCxnSpPr>
            <a:cxnSpLocks/>
          </p:cNvCxnSpPr>
          <p:nvPr/>
        </p:nvCxnSpPr>
        <p:spPr>
          <a:xfrm>
            <a:off x="5168529" y="2998885"/>
            <a:ext cx="0" cy="401417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Connecteur droit 389">
            <a:extLst>
              <a:ext uri="{FF2B5EF4-FFF2-40B4-BE49-F238E27FC236}">
                <a16:creationId xmlns:a16="http://schemas.microsoft.com/office/drawing/2014/main" id="{38569F3D-68EC-0261-DC05-DB3B6EB9BF37}"/>
              </a:ext>
            </a:extLst>
          </p:cNvPr>
          <p:cNvCxnSpPr>
            <a:cxnSpLocks/>
          </p:cNvCxnSpPr>
          <p:nvPr/>
        </p:nvCxnSpPr>
        <p:spPr>
          <a:xfrm>
            <a:off x="5826739" y="2641073"/>
            <a:ext cx="5159" cy="341349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ZoneTexte 394">
            <a:extLst>
              <a:ext uri="{FF2B5EF4-FFF2-40B4-BE49-F238E27FC236}">
                <a16:creationId xmlns:a16="http://schemas.microsoft.com/office/drawing/2014/main" id="{B7EF49FD-0BA0-AFE4-7DB5-74440BBA990A}"/>
              </a:ext>
            </a:extLst>
          </p:cNvPr>
          <p:cNvSpPr txBox="1"/>
          <p:nvPr/>
        </p:nvSpPr>
        <p:spPr>
          <a:xfrm>
            <a:off x="5300441" y="2354146"/>
            <a:ext cx="1175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800">
                <a:latin typeface="Montserrat" panose="00000500000000000000" pitchFamily="2" charset="0"/>
              </a:rPr>
              <a:t>Talk at BPCE SI Inno Talk</a:t>
            </a:r>
            <a:endParaRPr lang="fr-FR" sz="800" b="1">
              <a:latin typeface="Montserrat" panose="00000500000000000000" pitchFamily="2" charset="0"/>
            </a:endParaRPr>
          </a:p>
        </p:txBody>
      </p:sp>
      <p:sp>
        <p:nvSpPr>
          <p:cNvPr id="400" name="ZoneTexte 399">
            <a:extLst>
              <a:ext uri="{FF2B5EF4-FFF2-40B4-BE49-F238E27FC236}">
                <a16:creationId xmlns:a16="http://schemas.microsoft.com/office/drawing/2014/main" id="{89BF94A5-E362-803B-C52A-EB4BFD8D32DE}"/>
              </a:ext>
            </a:extLst>
          </p:cNvPr>
          <p:cNvSpPr txBox="1"/>
          <p:nvPr/>
        </p:nvSpPr>
        <p:spPr>
          <a:xfrm>
            <a:off x="4058575" y="2677829"/>
            <a:ext cx="1284258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00" i="1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BCG Study on Sovereignty</a:t>
            </a:r>
            <a:endParaRPr lang="fr-FR" sz="500" i="1">
              <a:solidFill>
                <a:schemeClr val="accent1"/>
              </a:solidFill>
              <a:latin typeface="Montserrat" panose="00000500000000000000" pitchFamily="2" charset="0"/>
              <a:sym typeface="Wingdings" panose="05000000000000000000" pitchFamily="2" charset="2"/>
            </a:endParaRPr>
          </a:p>
        </p:txBody>
      </p:sp>
      <p:sp>
        <p:nvSpPr>
          <p:cNvPr id="401" name="ZoneTexte 400">
            <a:extLst>
              <a:ext uri="{FF2B5EF4-FFF2-40B4-BE49-F238E27FC236}">
                <a16:creationId xmlns:a16="http://schemas.microsoft.com/office/drawing/2014/main" id="{D1E8F907-767F-1CFE-4013-5A29C189C49D}"/>
              </a:ext>
            </a:extLst>
          </p:cNvPr>
          <p:cNvSpPr txBox="1"/>
          <p:nvPr/>
        </p:nvSpPr>
        <p:spPr>
          <a:xfrm>
            <a:off x="5767379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April</a:t>
            </a:r>
            <a:endParaRPr lang="fr-FR" sz="600">
              <a:solidFill>
                <a:schemeClr val="accent1"/>
              </a:solidFill>
            </a:endParaRPr>
          </a:p>
        </p:txBody>
      </p:sp>
      <p:cxnSp>
        <p:nvCxnSpPr>
          <p:cNvPr id="402" name="Connecteur droit 401">
            <a:extLst>
              <a:ext uri="{FF2B5EF4-FFF2-40B4-BE49-F238E27FC236}">
                <a16:creationId xmlns:a16="http://schemas.microsoft.com/office/drawing/2014/main" id="{B7A4CF72-CA8A-B205-4EAE-6C8C08158679}"/>
              </a:ext>
            </a:extLst>
          </p:cNvPr>
          <p:cNvCxnSpPr>
            <a:cxnSpLocks/>
          </p:cNvCxnSpPr>
          <p:nvPr/>
        </p:nvCxnSpPr>
        <p:spPr>
          <a:xfrm>
            <a:off x="6560830" y="3034842"/>
            <a:ext cx="0" cy="259407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4" name="ZoneTexte 403">
            <a:extLst>
              <a:ext uri="{FF2B5EF4-FFF2-40B4-BE49-F238E27FC236}">
                <a16:creationId xmlns:a16="http://schemas.microsoft.com/office/drawing/2014/main" id="{704D7EAA-45DE-C489-F3AC-26A4347A13B0}"/>
              </a:ext>
            </a:extLst>
          </p:cNvPr>
          <p:cNvSpPr txBox="1"/>
          <p:nvPr/>
        </p:nvSpPr>
        <p:spPr>
          <a:xfrm>
            <a:off x="5862734" y="3231985"/>
            <a:ext cx="1175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800" b="1">
                <a:latin typeface="Montserrat" panose="00000500000000000000" pitchFamily="2" charset="0"/>
              </a:rPr>
              <a:t>OpenStack Club</a:t>
            </a:r>
          </a:p>
          <a:p>
            <a:pPr lvl="0" algn="ctr"/>
            <a:r>
              <a:rPr lang="en-US" sz="800" b="1">
                <a:latin typeface="Montserrat" panose="00000500000000000000" pitchFamily="2" charset="0"/>
              </a:rPr>
              <a:t>Worteks</a:t>
            </a:r>
            <a:endParaRPr lang="fr-FR" sz="800">
              <a:latin typeface="Montserrat" panose="00000500000000000000" pitchFamily="2" charset="0"/>
            </a:endParaRPr>
          </a:p>
        </p:txBody>
      </p:sp>
      <p:sp>
        <p:nvSpPr>
          <p:cNvPr id="407" name="ZoneTexte 406">
            <a:extLst>
              <a:ext uri="{FF2B5EF4-FFF2-40B4-BE49-F238E27FC236}">
                <a16:creationId xmlns:a16="http://schemas.microsoft.com/office/drawing/2014/main" id="{396B5E5F-7D62-06DE-BA68-6FD5F282938D}"/>
              </a:ext>
            </a:extLst>
          </p:cNvPr>
          <p:cNvSpPr txBox="1"/>
          <p:nvPr/>
        </p:nvSpPr>
        <p:spPr>
          <a:xfrm>
            <a:off x="6841129" y="1967730"/>
            <a:ext cx="13458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BPCE</a:t>
            </a:r>
          </a:p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Data Tech Day</a:t>
            </a:r>
          </a:p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Scaleway: Open-Source Data &amp; AI Stack</a:t>
            </a:r>
            <a:endParaRPr lang="fr-FR" sz="800">
              <a:latin typeface="Montserrat" panose="00000500000000000000" pitchFamily="2" charset="0"/>
            </a:endParaRPr>
          </a:p>
        </p:txBody>
      </p:sp>
      <p:cxnSp>
        <p:nvCxnSpPr>
          <p:cNvPr id="408" name="Connecteur droit 407">
            <a:extLst>
              <a:ext uri="{FF2B5EF4-FFF2-40B4-BE49-F238E27FC236}">
                <a16:creationId xmlns:a16="http://schemas.microsoft.com/office/drawing/2014/main" id="{EEB7C6B6-7E85-D785-2528-EB1DEBCF3812}"/>
              </a:ext>
            </a:extLst>
          </p:cNvPr>
          <p:cNvCxnSpPr>
            <a:cxnSpLocks/>
          </p:cNvCxnSpPr>
          <p:nvPr/>
        </p:nvCxnSpPr>
        <p:spPr>
          <a:xfrm flipH="1">
            <a:off x="7526336" y="2558803"/>
            <a:ext cx="6617" cy="439161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ZoneTexte 421">
            <a:extLst>
              <a:ext uri="{FF2B5EF4-FFF2-40B4-BE49-F238E27FC236}">
                <a16:creationId xmlns:a16="http://schemas.microsoft.com/office/drawing/2014/main" id="{02C50C01-E534-03FA-1B5F-1AD8B6363DD7}"/>
              </a:ext>
            </a:extLst>
          </p:cNvPr>
          <p:cNvSpPr txBox="1"/>
          <p:nvPr/>
        </p:nvSpPr>
        <p:spPr>
          <a:xfrm>
            <a:off x="6819183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May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423" name="ZoneTexte 422">
            <a:extLst>
              <a:ext uri="{FF2B5EF4-FFF2-40B4-BE49-F238E27FC236}">
                <a16:creationId xmlns:a16="http://schemas.microsoft.com/office/drawing/2014/main" id="{EF9C3089-34B3-50AF-3618-E648F4B23788}"/>
              </a:ext>
            </a:extLst>
          </p:cNvPr>
          <p:cNvSpPr txBox="1"/>
          <p:nvPr/>
        </p:nvSpPr>
        <p:spPr>
          <a:xfrm>
            <a:off x="7353308" y="2840110"/>
            <a:ext cx="79345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June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424" name="ZoneTexte 423">
            <a:extLst>
              <a:ext uri="{FF2B5EF4-FFF2-40B4-BE49-F238E27FC236}">
                <a16:creationId xmlns:a16="http://schemas.microsoft.com/office/drawing/2014/main" id="{4057223A-E34C-8241-18A8-09EF3BB7F47F}"/>
              </a:ext>
            </a:extLst>
          </p:cNvPr>
          <p:cNvSpPr txBox="1"/>
          <p:nvPr/>
        </p:nvSpPr>
        <p:spPr>
          <a:xfrm>
            <a:off x="7583337" y="3515298"/>
            <a:ext cx="15925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rgbClr val="00B05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TOSIT Day</a:t>
            </a:r>
          </a:p>
          <a:p>
            <a:pPr algn="ctr"/>
            <a:r>
              <a:rPr lang="en-US" sz="800" b="1">
                <a:solidFill>
                  <a:srgbClr val="00B05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at Caisse des Dépôts</a:t>
            </a:r>
          </a:p>
          <a:p>
            <a:pPr algn="ctr"/>
            <a:r>
              <a:rPr lang="en-US" sz="800" b="1">
                <a:solidFill>
                  <a:srgbClr val="00B050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with Postgre on Project Governance, Encryption, and Product Strategy</a:t>
            </a:r>
            <a:endParaRPr lang="fr-FR" sz="800">
              <a:latin typeface="Montserrat" panose="00000500000000000000" pitchFamily="2" charset="0"/>
            </a:endParaRPr>
          </a:p>
        </p:txBody>
      </p:sp>
      <p:cxnSp>
        <p:nvCxnSpPr>
          <p:cNvPr id="425" name="Connecteur droit 424">
            <a:extLst>
              <a:ext uri="{FF2B5EF4-FFF2-40B4-BE49-F238E27FC236}">
                <a16:creationId xmlns:a16="http://schemas.microsoft.com/office/drawing/2014/main" id="{71BA3D44-2882-B91E-D92F-9C7D846649C2}"/>
              </a:ext>
            </a:extLst>
          </p:cNvPr>
          <p:cNvCxnSpPr>
            <a:cxnSpLocks/>
          </p:cNvCxnSpPr>
          <p:nvPr/>
        </p:nvCxnSpPr>
        <p:spPr>
          <a:xfrm>
            <a:off x="8415300" y="3034842"/>
            <a:ext cx="0" cy="508354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ZoneTexte 463">
            <a:extLst>
              <a:ext uri="{FF2B5EF4-FFF2-40B4-BE49-F238E27FC236}">
                <a16:creationId xmlns:a16="http://schemas.microsoft.com/office/drawing/2014/main" id="{21F89CE4-B42B-4201-96AF-552A1715BA94}"/>
              </a:ext>
            </a:extLst>
          </p:cNvPr>
          <p:cNvSpPr txBox="1"/>
          <p:nvPr/>
        </p:nvSpPr>
        <p:spPr>
          <a:xfrm>
            <a:off x="7778121" y="3259424"/>
            <a:ext cx="4876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  <a:sym typeface="Wingdings" panose="05000000000000000000" pitchFamily="2" charset="2"/>
              </a:rPr>
              <a:t>OW2</a:t>
            </a:r>
            <a:endParaRPr lang="fr-FR"/>
          </a:p>
        </p:txBody>
      </p:sp>
      <p:cxnSp>
        <p:nvCxnSpPr>
          <p:cNvPr id="466" name="Connecteur droit 465">
            <a:extLst>
              <a:ext uri="{FF2B5EF4-FFF2-40B4-BE49-F238E27FC236}">
                <a16:creationId xmlns:a16="http://schemas.microsoft.com/office/drawing/2014/main" id="{D9ED2060-04B5-E11D-44CC-596E2013A3A7}"/>
              </a:ext>
            </a:extLst>
          </p:cNvPr>
          <p:cNvCxnSpPr>
            <a:cxnSpLocks/>
          </p:cNvCxnSpPr>
          <p:nvPr/>
        </p:nvCxnSpPr>
        <p:spPr>
          <a:xfrm>
            <a:off x="7993740" y="3027535"/>
            <a:ext cx="0" cy="259407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9" name="ZoneTexte 468">
            <a:extLst>
              <a:ext uri="{FF2B5EF4-FFF2-40B4-BE49-F238E27FC236}">
                <a16:creationId xmlns:a16="http://schemas.microsoft.com/office/drawing/2014/main" id="{76B6819F-4255-FDA4-762A-3045D8DDCEA7}"/>
              </a:ext>
            </a:extLst>
          </p:cNvPr>
          <p:cNvSpPr txBox="1"/>
          <p:nvPr/>
        </p:nvSpPr>
        <p:spPr>
          <a:xfrm>
            <a:off x="-6017" y="2735044"/>
            <a:ext cx="7934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Internal Engagement</a:t>
            </a:r>
            <a:endParaRPr lang="fr-FR" sz="600">
              <a:solidFill>
                <a:schemeClr val="accent1"/>
              </a:solidFill>
            </a:endParaRPr>
          </a:p>
        </p:txBody>
      </p:sp>
      <p:sp>
        <p:nvSpPr>
          <p:cNvPr id="470" name="ZoneTexte 469">
            <a:extLst>
              <a:ext uri="{FF2B5EF4-FFF2-40B4-BE49-F238E27FC236}">
                <a16:creationId xmlns:a16="http://schemas.microsoft.com/office/drawing/2014/main" id="{51AC6BD3-877A-FEAD-AB92-D6CF5E99D855}"/>
              </a:ext>
            </a:extLst>
          </p:cNvPr>
          <p:cNvSpPr txBox="1"/>
          <p:nvPr/>
        </p:nvSpPr>
        <p:spPr>
          <a:xfrm>
            <a:off x="885" y="3043495"/>
            <a:ext cx="7934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600">
                <a:solidFill>
                  <a:schemeClr val="accent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External Engagement</a:t>
            </a:r>
            <a:endParaRPr lang="fr-FR" sz="600">
              <a:solidFill>
                <a:schemeClr val="accent1"/>
              </a:solidFill>
            </a:endParaRPr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7D158DCD-502E-ADBC-207A-15C71326E502}"/>
              </a:ext>
            </a:extLst>
          </p:cNvPr>
          <p:cNvCxnSpPr>
            <a:cxnSpLocks/>
          </p:cNvCxnSpPr>
          <p:nvPr/>
        </p:nvCxnSpPr>
        <p:spPr>
          <a:xfrm flipV="1">
            <a:off x="264160" y="3008067"/>
            <a:ext cx="8689854" cy="1946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Connecteur droit 471">
            <a:extLst>
              <a:ext uri="{FF2B5EF4-FFF2-40B4-BE49-F238E27FC236}">
                <a16:creationId xmlns:a16="http://schemas.microsoft.com/office/drawing/2014/main" id="{46ED61B1-7FB4-E4F9-0E57-D38481C8A242}"/>
              </a:ext>
            </a:extLst>
          </p:cNvPr>
          <p:cNvCxnSpPr>
            <a:cxnSpLocks/>
          </p:cNvCxnSpPr>
          <p:nvPr/>
        </p:nvCxnSpPr>
        <p:spPr>
          <a:xfrm>
            <a:off x="6975500" y="3024776"/>
            <a:ext cx="0" cy="704708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4" name="ZoneTexte 473">
            <a:extLst>
              <a:ext uri="{FF2B5EF4-FFF2-40B4-BE49-F238E27FC236}">
                <a16:creationId xmlns:a16="http://schemas.microsoft.com/office/drawing/2014/main" id="{2FCE4743-35C7-8E9C-796C-0908D724BEF4}"/>
              </a:ext>
            </a:extLst>
          </p:cNvPr>
          <p:cNvSpPr txBox="1"/>
          <p:nvPr/>
        </p:nvSpPr>
        <p:spPr>
          <a:xfrm>
            <a:off x="6299346" y="3697552"/>
            <a:ext cx="11757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800" b="1">
                <a:latin typeface="Montserrat" panose="00000500000000000000" pitchFamily="2" charset="0"/>
              </a:rPr>
              <a:t>DEVOXX France</a:t>
            </a:r>
          </a:p>
          <a:p>
            <a:pPr lvl="0" algn="ctr"/>
            <a:r>
              <a:rPr lang="en-US" sz="800" b="1">
                <a:latin typeface="Montserrat" panose="00000500000000000000" pitchFamily="2" charset="0"/>
              </a:rPr>
              <a:t>TOSIT Booth + BOF</a:t>
            </a:r>
            <a:endParaRPr lang="fr-FR" sz="800">
              <a:latin typeface="Montserrat" panose="00000500000000000000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75205FD-CFDC-6120-CF96-6A3FE09B80AC}"/>
              </a:ext>
            </a:extLst>
          </p:cNvPr>
          <p:cNvSpPr txBox="1"/>
          <p:nvPr/>
        </p:nvSpPr>
        <p:spPr>
          <a:xfrm>
            <a:off x="2186620" y="3862012"/>
            <a:ext cx="10770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600">
                <a:latin typeface="Montserrat" panose="00000500000000000000" pitchFamily="2" charset="0"/>
              </a:rPr>
              <a:t>Urba-EA Club, Procurement Community, ToBeContinuous, Digital Workplace, Data &amp; AI</a:t>
            </a: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3B723319-7B72-38A7-1D93-BCF3AD5079B9}"/>
              </a:ext>
            </a:extLst>
          </p:cNvPr>
          <p:cNvSpPr/>
          <p:nvPr/>
        </p:nvSpPr>
        <p:spPr>
          <a:xfrm rot="7570137" flipV="1">
            <a:off x="1950578" y="3426615"/>
            <a:ext cx="413999" cy="524644"/>
          </a:xfrm>
          <a:prstGeom prst="arc">
            <a:avLst>
              <a:gd name="adj1" fmla="val 19785636"/>
              <a:gd name="adj2" fmla="val 3010496"/>
            </a:avLst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just" defTabSz="342900">
              <a:defRPr/>
            </a:pPr>
            <a:endParaRPr lang="fr-FR" sz="13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90368B0-706A-671E-49B2-C1F98536165B}"/>
              </a:ext>
            </a:extLst>
          </p:cNvPr>
          <p:cNvSpPr txBox="1"/>
          <p:nvPr/>
        </p:nvSpPr>
        <p:spPr>
          <a:xfrm>
            <a:off x="5261427" y="1295368"/>
            <a:ext cx="13458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BPCE</a:t>
            </a:r>
          </a:p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Tech Day</a:t>
            </a:r>
          </a:p>
          <a:p>
            <a:pPr algn="ctr"/>
            <a:r>
              <a:rPr lang="fr-FR" sz="800" b="1">
                <a:solidFill>
                  <a:schemeClr val="accent4"/>
                </a:solidFill>
                <a:latin typeface="Montserrat" panose="00000500000000000000" pitchFamily="2" charset="0"/>
              </a:rPr>
              <a:t>Open Source: a Lever for Sovereignty and the Group’s Challenges</a:t>
            </a:r>
            <a:endParaRPr lang="fr-FR" sz="80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954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Gauge 3&quot; Source=&quot;Gauge 3&quot; /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Cercle [4] [5]&quot; Source=&quot;Star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0/5 [0+]&quot; Source=&quot;Stars 5 levels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1/5 [1+]&quot; Source=&quot;Stars 5 levels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0/5 [0+]&quot; Source=&quot;Stars 5 levels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2/5 [2+]&quot; Source=&quot;Stars 5 levels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0/5 [0+]&quot; Source=&quot;Stars 5 levels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3/5 [3+]&quot; Source=&quot;Stars 5 levels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0/5 [0+]&quot; Source=&quot;Stars 5 levels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4/5 [4+]&quot; Source=&quot;Stars 5 levels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0/5 [0+]&quot; Source=&quot;Stars 5 levels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Stars 3 levels&quot; Source=&quot;Stars 3 levels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5/5 [5+]&quot; Source=&quot;Stars 5 levels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38 [0]&quot; Source=&quot;Stars 3 levels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0 [0]&quot; Source=&quot;Stars 3 levels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1 [0]&quot; Source=&quot;Stars 3 levels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2 [1]&quot; Source=&quot;Stars 3 levels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3 [1]&quot; Source=&quot;Stars 3 levels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4 [1]&quot; Source=&quot;Stars 3 levels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5 [2]&quot; Source=&quot;Stars 3 levels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6 [2]&quot; Source=&quot;Stars 3 levels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7 [2]&quot; Source=&quot;Stars 3 levels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0eb7950-261f-4638-98c4-05e27e5f6a47&quot; /&gt;"/>
  <p:tag name="SP_POWERSHAPE" val="&lt;PowerShapeTag ClassVersion=&quot;0&quot; GUID=&quot;dae0938a-f929-4da2-814e-34a05655c955&quot; IsConsolidated=&quot;False&quot; IsTopLevel=&quot;False&quot; Layer=&quot;Stars 5 levels&quot; Source=&quot;Stars 5 levels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8 [3]&quot; Source=&quot;Stars 3 levels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49 [3]&quot; Source=&quot;Stars 3 levels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2061e-bb1d-4855-a072-309e3037feea&quot; /&gt;"/>
  <p:tag name="SP_POWERSHAPE" val="&lt;PowerShapeTag ClassVersion=&quot;0&quot; GUID=&quot;763f0d7b-77dc-4634-b4cb-21217432a319&quot; IsConsolidated=&quot;False&quot; IsTopLevel=&quot;False&quot; Layer=&quot;5-Point Star 150 [3]&quot; Source=&quot;Stars 3 levels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Background [-1]&quot; Source=&quot;Gauge 3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Background Green [0]&quot; Source=&quot;Gauge 3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Background Yellow [1]&quot; Source=&quot;Gauge 3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Background Red [2]&quot; Source=&quot;Gauge 3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Needle Red [2]&quot; Source=&quot;Gauge 3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Needle Yellow [1]&quot; Source=&quot;Gauge 3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95b5eadd-6dc6-40a2-ab30-144bff880ef6&quot; /&gt;"/>
  <p:tag name="SP_POWERSHAPE" val="&lt;PowerShapeTag ClassVersion=&quot;0&quot; GUID=&quot;1ee7cb95-5bcc-4124-be5d-a6befaecf473&quot; IsConsolidated=&quot;False&quot; IsTopLevel=&quot;False&quot; Layer=&quot;Needle Green [0]&quot; Source=&quot;Gauge 3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Star&quot; Source=&quot;Star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uKg4hQY2N63yTWdYl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Folded Corner 34 [0]&quot; Source=&quot;Star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Isosceles Triangle 173 [1]&quot; Source=&quot;Star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5-Point Star 174 [2]&quot; Source=&quot;Star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Diamond 175 [3]&quot; Source=&quot;Star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efb878ff-1d5d-4f85-a948-854a6549d9ad&quot; /&gt;"/>
  <p:tag name="SP_POWERSHAPE" val="&lt;PowerShapeTag ClassVersion=&quot;0&quot; GUID=&quot;a8c9c877-3fab-4f2a-9f86-50f5bb41466d&quot; IsConsolidated=&quot;False&quot; IsTopLevel=&quot;False&quot; Layer=&quot;Flowchart: Off-page Connector 176 [4]&quot; Source=&quot;Star&quot; /&gt;"/>
</p:tagLst>
</file>

<file path=ppt/theme/theme1.xml><?xml version="1.0" encoding="utf-8"?>
<a:theme xmlns:a="http://schemas.openxmlformats.org/drawingml/2006/main" name="Thème NATIXIS 2017">
  <a:themeElements>
    <a:clrScheme name="NATIXIS 2017">
      <a:dk1>
        <a:sysClr val="windowText" lastClr="000000"/>
      </a:dk1>
      <a:lt1>
        <a:sysClr val="window" lastClr="FFFFFF"/>
      </a:lt1>
      <a:dk2>
        <a:srgbClr val="581D74"/>
      </a:dk2>
      <a:lt2>
        <a:srgbClr val="707372"/>
      </a:lt2>
      <a:accent1>
        <a:srgbClr val="4D6995"/>
      </a:accent1>
      <a:accent2>
        <a:srgbClr val="AF1280"/>
      </a:accent2>
      <a:accent3>
        <a:srgbClr val="B14EB5"/>
      </a:accent3>
      <a:accent4>
        <a:srgbClr val="F07E53"/>
      </a:accent4>
      <a:accent5>
        <a:srgbClr val="7197BA"/>
      </a:accent5>
      <a:accent6>
        <a:srgbClr val="2499B6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NATIXIS_2017_Template_16-9_NATIXIS">
  <a:themeElements>
    <a:clrScheme name="Personnalisé 2">
      <a:dk1>
        <a:sysClr val="windowText" lastClr="000000"/>
      </a:dk1>
      <a:lt1>
        <a:sysClr val="window" lastClr="FFFFFF"/>
      </a:lt1>
      <a:dk2>
        <a:srgbClr val="581D74"/>
      </a:dk2>
      <a:lt2>
        <a:srgbClr val="707372"/>
      </a:lt2>
      <a:accent1>
        <a:srgbClr val="4D6995"/>
      </a:accent1>
      <a:accent2>
        <a:srgbClr val="AF1280"/>
      </a:accent2>
      <a:accent3>
        <a:srgbClr val="B14EB5"/>
      </a:accent3>
      <a:accent4>
        <a:srgbClr val="F07E53"/>
      </a:accent4>
      <a:accent5>
        <a:srgbClr val="7197BA"/>
      </a:accent5>
      <a:accent6>
        <a:srgbClr val="2499B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ysDot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onception personnalisée">
  <a:themeElements>
    <a:clrScheme name="CommunautéBPCE">
      <a:dk1>
        <a:srgbClr val="000000"/>
      </a:dk1>
      <a:lt1>
        <a:srgbClr val="FFFFFF"/>
      </a:lt1>
      <a:dk2>
        <a:srgbClr val="B34A8C"/>
      </a:dk2>
      <a:lt2>
        <a:srgbClr val="D6D2E3"/>
      </a:lt2>
      <a:accent1>
        <a:srgbClr val="581D74"/>
      </a:accent1>
      <a:accent2>
        <a:srgbClr val="00A193"/>
      </a:accent2>
      <a:accent3>
        <a:srgbClr val="DB4B4B"/>
      </a:accent3>
      <a:accent4>
        <a:srgbClr val="9176B4"/>
      </a:accent4>
      <a:accent5>
        <a:srgbClr val="55579E"/>
      </a:accent5>
      <a:accent6>
        <a:srgbClr val="EAB818"/>
      </a:accent6>
      <a:hlink>
        <a:srgbClr val="976C9D"/>
      </a:hlink>
      <a:folHlink>
        <a:srgbClr val="00ABA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1">
              <a:lumMod val="75000"/>
            </a:schemeClr>
          </a:solidFill>
          <a:prstDash val="sysDot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lnSpc>
            <a:spcPct val="85000"/>
          </a:lnSpc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-BPA-Communaute.potx" id="{28B8B5F8-3950-4AA6-9EEF-9F0B79B05729}" vid="{8A80A69D-C1F7-42E9-A8A0-0BCC5A3474F8}"/>
    </a:ext>
  </a:extLst>
</a:theme>
</file>

<file path=ppt/theme/theme4.xml><?xml version="1.0" encoding="utf-8"?>
<a:theme xmlns:a="http://schemas.openxmlformats.org/drawingml/2006/main" name="2_Conception personnalisée">
  <a:themeElements>
    <a:clrScheme name="CommunautéBPCE">
      <a:dk1>
        <a:srgbClr val="000000"/>
      </a:dk1>
      <a:lt1>
        <a:srgbClr val="FFFFFF"/>
      </a:lt1>
      <a:dk2>
        <a:srgbClr val="B34A8C"/>
      </a:dk2>
      <a:lt2>
        <a:srgbClr val="D6D2E3"/>
      </a:lt2>
      <a:accent1>
        <a:srgbClr val="581D74"/>
      </a:accent1>
      <a:accent2>
        <a:srgbClr val="00A193"/>
      </a:accent2>
      <a:accent3>
        <a:srgbClr val="DB4B4B"/>
      </a:accent3>
      <a:accent4>
        <a:srgbClr val="9176B4"/>
      </a:accent4>
      <a:accent5>
        <a:srgbClr val="55579E"/>
      </a:accent5>
      <a:accent6>
        <a:srgbClr val="EAB818"/>
      </a:accent6>
      <a:hlink>
        <a:srgbClr val="976C9D"/>
      </a:hlink>
      <a:folHlink>
        <a:srgbClr val="00ABA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1">
              <a:lumMod val="75000"/>
            </a:schemeClr>
          </a:solidFill>
          <a:prstDash val="sysDot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lnSpc>
            <a:spcPct val="85000"/>
          </a:lnSpc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-Template_BPCE" id="{069D621D-3A98-6142-A776-CEFBCA72C8E3}" vid="{6BACB513-4F12-4847-AD0C-FE23ECA05A92}"/>
    </a:ext>
  </a:extLst>
</a:theme>
</file>

<file path=ppt/theme/theme5.xml><?xml version="1.0" encoding="utf-8"?>
<a:theme xmlns:a="http://schemas.openxmlformats.org/drawingml/2006/main" name="Conception personnalisée">
  <a:themeElements>
    <a:clrScheme name="CommunautéBPCE">
      <a:dk1>
        <a:srgbClr val="000000"/>
      </a:dk1>
      <a:lt1>
        <a:srgbClr val="FFFFFF"/>
      </a:lt1>
      <a:dk2>
        <a:srgbClr val="B34A8C"/>
      </a:dk2>
      <a:lt2>
        <a:srgbClr val="D6D2E3"/>
      </a:lt2>
      <a:accent1>
        <a:srgbClr val="581D74"/>
      </a:accent1>
      <a:accent2>
        <a:srgbClr val="00A193"/>
      </a:accent2>
      <a:accent3>
        <a:srgbClr val="DB4B4B"/>
      </a:accent3>
      <a:accent4>
        <a:srgbClr val="9176B4"/>
      </a:accent4>
      <a:accent5>
        <a:srgbClr val="55579E"/>
      </a:accent5>
      <a:accent6>
        <a:srgbClr val="EAB818"/>
      </a:accent6>
      <a:hlink>
        <a:srgbClr val="976C9D"/>
      </a:hlink>
      <a:folHlink>
        <a:srgbClr val="00ABA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1">
              <a:lumMod val="75000"/>
            </a:schemeClr>
          </a:solidFill>
          <a:prstDash val="sysDot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lnSpc>
            <a:spcPct val="85000"/>
          </a:lnSpc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3" id="{3FB231C2-6734-4006-8060-09D6ECC3DA4A}" vid="{90A990DB-D609-4C03-9EE6-28000E73804F}"/>
    </a:ext>
  </a:extLst>
</a:theme>
</file>

<file path=ppt/theme/theme6.xml><?xml version="1.0" encoding="utf-8"?>
<a:theme xmlns:a="http://schemas.openxmlformats.org/drawingml/2006/main" name="Conception personnalisée">
  <a:themeElements>
    <a:clrScheme name="CommunautéBPCE">
      <a:dk1>
        <a:srgbClr val="000000"/>
      </a:dk1>
      <a:lt1>
        <a:srgbClr val="FFFFFF"/>
      </a:lt1>
      <a:dk2>
        <a:srgbClr val="B34A8C"/>
      </a:dk2>
      <a:lt2>
        <a:srgbClr val="D6D2E3"/>
      </a:lt2>
      <a:accent1>
        <a:srgbClr val="581D74"/>
      </a:accent1>
      <a:accent2>
        <a:srgbClr val="00A193"/>
      </a:accent2>
      <a:accent3>
        <a:srgbClr val="DB4B4B"/>
      </a:accent3>
      <a:accent4>
        <a:srgbClr val="9176B4"/>
      </a:accent4>
      <a:accent5>
        <a:srgbClr val="55579E"/>
      </a:accent5>
      <a:accent6>
        <a:srgbClr val="EAB818"/>
      </a:accent6>
      <a:hlink>
        <a:srgbClr val="976C9D"/>
      </a:hlink>
      <a:folHlink>
        <a:srgbClr val="00ABA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TECH-OPE-communaute.potx" id="{D36F0588-87F6-4434-9EB3-3A25C5CD97CF}" vid="{9B485BFE-C272-4A3B-9CFB-398464958431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b7f7df2-1618-4f33-9e2c-0cf1410a5c90" xsi:nil="true"/>
    <lcf76f155ced4ddcb4097134ff3c332f xmlns="31074244-8d5f-45b7-acad-0653ac5dff90">
      <Terms xmlns="http://schemas.microsoft.com/office/infopath/2007/PartnerControls"/>
    </lcf76f155ced4ddcb4097134ff3c332f>
  </documentManagement>
</p:properties>
</file>

<file path=customXml/item2.xml><?xml version="1.0" encoding="utf-8"?>
<?mso-contentType ?>
<SharedContentType xmlns="Microsoft.SharePoint.Taxonomy.ContentTypeSync" SourceId="c52eb4dc-0ef3-4aa8-8e03-025dbf6c8637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969BC3ADE7434D935E9591C484F8AF" ma:contentTypeVersion="12" ma:contentTypeDescription="Create a new document." ma:contentTypeScope="" ma:versionID="333eeee0df4d81a54d34badb99055e39">
  <xsd:schema xmlns:xsd="http://www.w3.org/2001/XMLSchema" xmlns:xs="http://www.w3.org/2001/XMLSchema" xmlns:p="http://schemas.microsoft.com/office/2006/metadata/properties" xmlns:ns2="31074244-8d5f-45b7-acad-0653ac5dff90" xmlns:ns3="3b7f7df2-1618-4f33-9e2c-0cf1410a5c90" targetNamespace="http://schemas.microsoft.com/office/2006/metadata/properties" ma:root="true" ma:fieldsID="f5a9b7dbe2ff5ecff9f822b6e187bee8" ns2:_="" ns3:_="">
    <xsd:import namespace="31074244-8d5f-45b7-acad-0653ac5dff90"/>
    <xsd:import namespace="3b7f7df2-1618-4f33-9e2c-0cf1410a5c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074244-8d5f-45b7-acad-0653ac5df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c52eb4dc-0ef3-4aa8-8e03-025dbf6c86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7f7df2-1618-4f33-9e2c-0cf1410a5c9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e4514d3-de10-490b-8a7e-2118dbaa55bf}" ma:internalName="TaxCatchAll" ma:showField="CatchAllData" ma:web="3b7f7df2-1618-4f33-9e2c-0cf1410a5c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C8933F-19E7-41E6-B6A9-4B379D32D106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3b7f7df2-1618-4f33-9e2c-0cf1410a5c90"/>
    <ds:schemaRef ds:uri="http://www.w3.org/XML/1998/namespace"/>
    <ds:schemaRef ds:uri="31074244-8d5f-45b7-acad-0653ac5dff90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D6C9573-445C-473F-B3C7-A95034B3CB11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3869D3B-7DDF-4FAD-AF94-7E7F51B525FC}">
  <ds:schemaRefs>
    <ds:schemaRef ds:uri="31074244-8d5f-45b7-acad-0653ac5dff90"/>
    <ds:schemaRef ds:uri="3b7f7df2-1618-4f33-9e2c-0cf1410a5c9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595EC5F6-7E5B-4A47-8A96-9C562FF2A8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62</TotalTime>
  <Words>1925</Words>
  <Application>Microsoft Macintosh PowerPoint</Application>
  <PresentationFormat>Affichage à l'écran (16:9)</PresentationFormat>
  <Paragraphs>268</Paragraphs>
  <Slides>1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20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46" baseType="lpstr">
      <vt:lpstr>Aptos</vt:lpstr>
      <vt:lpstr>Arial</vt:lpstr>
      <vt:lpstr>Arial (En-têtes)</vt:lpstr>
      <vt:lpstr>Arial Black</vt:lpstr>
      <vt:lpstr>Arial Narrow</vt:lpstr>
      <vt:lpstr>Cabin Condensed</vt:lpstr>
      <vt:lpstr>Calibri</vt:lpstr>
      <vt:lpstr>Cambria Math</vt:lpstr>
      <vt:lpstr>Courier New</vt:lpstr>
      <vt:lpstr>Geomanist Regular</vt:lpstr>
      <vt:lpstr>Montserrat</vt:lpstr>
      <vt:lpstr>Montserrat ExtraBold</vt:lpstr>
      <vt:lpstr>Montserrat SemiBold</vt:lpstr>
      <vt:lpstr>Roboto</vt:lpstr>
      <vt:lpstr>Segoe UI</vt:lpstr>
      <vt:lpstr>Symbol</vt:lpstr>
      <vt:lpstr>Trebuchet MS</vt:lpstr>
      <vt:lpstr>Ubuntu Regular</vt:lpstr>
      <vt:lpstr>Wingdings</vt:lpstr>
      <vt:lpstr>Wingdings 3</vt:lpstr>
      <vt:lpstr>Thème NATIXIS 2017</vt:lpstr>
      <vt:lpstr>2_NATIXIS_2017_Template_16-9_NATIXIS</vt:lpstr>
      <vt:lpstr>3_Conception personnalisée</vt:lpstr>
      <vt:lpstr>2_Conception personnalisée</vt:lpstr>
      <vt:lpstr>Conception personnalisée</vt:lpstr>
      <vt:lpstr>Conception personnalisée</vt:lpstr>
      <vt:lpstr>Diapositive think-cell</vt:lpstr>
      <vt:lpstr>think-cell Slide</vt:lpstr>
      <vt:lpstr>PRESENTATION TITLE</vt:lpstr>
      <vt:lpstr>contents</vt:lpstr>
      <vt:lpstr>OUR CONTEXT &amp; OPEN SOURCE </vt:lpstr>
      <vt:lpstr>BPCE challenge: finding the right balance between functionality / innovation capacity and the need for strategic autonomy</vt:lpstr>
      <vt:lpstr>Options to strengthen autonomy to be considered on a case-by-case basis and that can build on a strong internal foundation</vt:lpstr>
      <vt:lpstr>OPEN SOURCE IS MORE THAN JUST FREE SOFTWARE...</vt:lpstr>
      <vt:lpstr>  Open source for the Group</vt:lpstr>
      <vt:lpstr>Pratique de place</vt:lpstr>
      <vt:lpstr>A Group Already Active</vt:lpstr>
      <vt:lpstr>OPEN SOURCE WITHIN THE BPCE GROUP </vt:lpstr>
      <vt:lpstr>BPCE GITHUB</vt:lpstr>
      <vt:lpstr>TOGETHER </vt:lpstr>
      <vt:lpstr>A success</vt:lpstr>
      <vt:lpstr>tHE MISSIONS OF THE oPEN sOURCE</vt:lpstr>
      <vt:lpstr>Establishing the open source team</vt:lpstr>
      <vt:lpstr>The Open Source Team’s Missions</vt:lpstr>
      <vt:lpstr>Governance: Open Source Authority </vt:lpstr>
      <vt:lpstr>OSA (Open Source Authority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lanet4</dc:creator>
  <cp:lastModifiedBy>CARINGI Florian</cp:lastModifiedBy>
  <cp:revision>9</cp:revision>
  <dcterms:created xsi:type="dcterms:W3CDTF">2017-03-22T11:46:51Z</dcterms:created>
  <dcterms:modified xsi:type="dcterms:W3CDTF">2026-06-05T07:2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969BC3ADE7434D935E9591C484F8AF</vt:lpwstr>
  </property>
  <property fmtid="{D5CDD505-2E9C-101B-9397-08002B2CF9AE}" pid="3" name="MediaServiceImageTags">
    <vt:lpwstr/>
  </property>
  <property fmtid="{D5CDD505-2E9C-101B-9397-08002B2CF9AE}" pid="4" name="MSIP_Label_7dd18aa4-ed64-4d59-b931-5ad635491991_Enabled">
    <vt:lpwstr>true</vt:lpwstr>
  </property>
  <property fmtid="{D5CDD505-2E9C-101B-9397-08002B2CF9AE}" pid="5" name="MSIP_Label_7dd18aa4-ed64-4d59-b931-5ad635491991_SetDate">
    <vt:lpwstr>2026-05-29T09:38:51Z</vt:lpwstr>
  </property>
  <property fmtid="{D5CDD505-2E9C-101B-9397-08002B2CF9AE}" pid="6" name="MSIP_Label_7dd18aa4-ed64-4d59-b931-5ad635491991_Method">
    <vt:lpwstr>Privileged</vt:lpwstr>
  </property>
  <property fmtid="{D5CDD505-2E9C-101B-9397-08002B2CF9AE}" pid="7" name="MSIP_Label_7dd18aa4-ed64-4d59-b931-5ad635491991_Name">
    <vt:lpwstr>Standard</vt:lpwstr>
  </property>
  <property fmtid="{D5CDD505-2E9C-101B-9397-08002B2CF9AE}" pid="8" name="MSIP_Label_7dd18aa4-ed64-4d59-b931-5ad635491991_SiteId">
    <vt:lpwstr>d5bb6d35-8a82-4329-b49a-5030bd6497ab</vt:lpwstr>
  </property>
  <property fmtid="{D5CDD505-2E9C-101B-9397-08002B2CF9AE}" pid="9" name="MSIP_Label_7dd18aa4-ed64-4d59-b931-5ad635491991_ActionId">
    <vt:lpwstr>f2308c95-a614-473e-ac10-e13dda8f5bd3</vt:lpwstr>
  </property>
  <property fmtid="{D5CDD505-2E9C-101B-9397-08002B2CF9AE}" pid="10" name="MSIP_Label_7dd18aa4-ed64-4d59-b931-5ad635491991_ContentBits">
    <vt:lpwstr>0</vt:lpwstr>
  </property>
  <property fmtid="{D5CDD505-2E9C-101B-9397-08002B2CF9AE}" pid="11" name="MSIP_Label_7dd18aa4-ed64-4d59-b931-5ad635491991_Tag">
    <vt:lpwstr>50, 0, 1, 1</vt:lpwstr>
  </property>
</Properties>
</file>